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8" r:id="rId4"/>
  </p:sldMasterIdLst>
  <p:notesMasterIdLst>
    <p:notesMasterId r:id="rId26"/>
  </p:notesMasterIdLst>
  <p:handoutMasterIdLst>
    <p:handoutMasterId r:id="rId27"/>
  </p:handoutMasterIdLst>
  <p:sldIdLst>
    <p:sldId id="739" r:id="rId5"/>
    <p:sldId id="2147470645" r:id="rId6"/>
    <p:sldId id="713" r:id="rId7"/>
    <p:sldId id="2147470664" r:id="rId8"/>
    <p:sldId id="2147470658" r:id="rId9"/>
    <p:sldId id="303" r:id="rId10"/>
    <p:sldId id="2147470660" r:id="rId11"/>
    <p:sldId id="2147376348" r:id="rId12"/>
    <p:sldId id="298" r:id="rId13"/>
    <p:sldId id="2147376361" r:id="rId14"/>
    <p:sldId id="2147376359" r:id="rId15"/>
    <p:sldId id="1337" r:id="rId16"/>
    <p:sldId id="2147470650" r:id="rId17"/>
    <p:sldId id="2147376362" r:id="rId18"/>
    <p:sldId id="2147376353" r:id="rId19"/>
    <p:sldId id="2147376366" r:id="rId20"/>
    <p:sldId id="2147376409" r:id="rId21"/>
    <p:sldId id="2147470661" r:id="rId22"/>
    <p:sldId id="3049" r:id="rId23"/>
    <p:sldId id="2147470662" r:id="rId24"/>
    <p:sldId id="2147376368" r:id="rId25"/>
  </p:sldIdLst>
  <p:sldSz cx="12192000" cy="6858000"/>
  <p:notesSz cx="6858000" cy="9144000"/>
  <p:custDataLst>
    <p:tags r:id="rId28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AEBE378E-8139-E744-8E30-11BAC31ABDDF}">
          <p14:sldIdLst>
            <p14:sldId id="739"/>
            <p14:sldId id="2147470645"/>
            <p14:sldId id="713"/>
            <p14:sldId id="2147470664"/>
            <p14:sldId id="2147470658"/>
            <p14:sldId id="303"/>
            <p14:sldId id="2147470660"/>
            <p14:sldId id="2147376348"/>
            <p14:sldId id="298"/>
            <p14:sldId id="2147376361"/>
            <p14:sldId id="2147376359"/>
            <p14:sldId id="1337"/>
            <p14:sldId id="2147470650"/>
            <p14:sldId id="2147376362"/>
            <p14:sldId id="2147376353"/>
            <p14:sldId id="2147376366"/>
            <p14:sldId id="2147376409"/>
            <p14:sldId id="2147470661"/>
            <p14:sldId id="3049"/>
            <p14:sldId id="2147470662"/>
          </p14:sldIdLst>
        </p14:section>
        <p14:section name="Backup" id="{28850339-3822-264E-B6D7-2D2548C35CF3}">
          <p14:sldIdLst>
            <p14:sldId id="2147376368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1FF06"/>
    <a:srgbClr val="0432FF"/>
    <a:srgbClr val="B81C1C"/>
    <a:srgbClr val="071D49"/>
    <a:srgbClr val="333333"/>
    <a:srgbClr val="EBEBEB"/>
    <a:srgbClr val="E80029"/>
    <a:srgbClr val="FCB300"/>
    <a:srgbClr val="EEEEEE"/>
    <a:srgbClr val="F7F7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7434917-411C-8641-9257-12A653D0DFBC}" v="216" dt="2025-11-13T01:06:31.723"/>
  </p1510:revLst>
</p1510:revInfo>
</file>

<file path=ppt/tableStyles.xml><?xml version="1.0" encoding="utf-8"?>
<a:tblStyleLst xmlns:a="http://schemas.openxmlformats.org/drawingml/2006/main" def="{0817EA92-75D0-4044-A80A-286907CE0DDB}">
  <a:tblStyle styleId="{0817EA92-75D0-4044-A80A-286907CE0DDB}" styleName="Keysight 2022 Table Style">
    <a:wholeTbl>
      <a:tcTxStyle>
        <a:fontRef idx="minor">
          <a:prstClr val="black"/>
        </a:fontRef>
        <a:schemeClr val="dk1"/>
      </a:tcTxStyle>
      <a:tcStyle>
        <a:tcBdr>
          <a:left>
            <a:ln w="6350" cmpd="sng">
              <a:solidFill>
                <a:schemeClr val="lt1"/>
              </a:solidFill>
            </a:ln>
          </a:left>
          <a:right>
            <a:ln w="6350" cmpd="sng">
              <a:solidFill>
                <a:schemeClr val="lt1"/>
              </a:solidFill>
            </a:ln>
          </a:right>
          <a:top>
            <a:ln w="6350" cmpd="sng">
              <a:solidFill>
                <a:schemeClr val="lt1"/>
              </a:solidFill>
            </a:ln>
          </a:top>
          <a:bottom>
            <a:ln w="6350" cmpd="sng">
              <a:solidFill>
                <a:schemeClr val="lt1"/>
              </a:solidFill>
            </a:ln>
          </a:bottom>
          <a:insideH>
            <a:ln w="6350" cmpd="sng">
              <a:solidFill>
                <a:schemeClr val="lt1"/>
              </a:solidFill>
            </a:ln>
          </a:insideH>
          <a:insideV>
            <a:ln w="6350" cmpd="sng">
              <a:solidFill>
                <a:schemeClr val="lt1"/>
              </a:solidFill>
            </a:ln>
          </a:insideV>
        </a:tcBdr>
      </a:tcStyle>
    </a:wholeTbl>
    <a:band1H>
      <a:tcStyle>
        <a:tcBdr/>
        <a:fill>
          <a:solidFill>
            <a:schemeClr val="bg1">
              <a:lumMod val="85000"/>
            </a:schemeClr>
          </a:solidFill>
        </a:fill>
      </a:tcStyle>
    </a:band1H>
    <a:band2H>
      <a:tcStyle>
        <a:tcBdr/>
        <a:fill>
          <a:solidFill>
            <a:schemeClr val="bg1">
              <a:lumMod val="95000"/>
            </a:schemeClr>
          </a:solidFill>
        </a:fill>
      </a:tcStyle>
    </a:band2H>
    <a:band1V>
      <a:tcStyle>
        <a:tcBdr/>
      </a:tcStyle>
    </a:band1V>
    <a:band2V>
      <a:tcStyle>
        <a:tcBdr/>
      </a:tcStyle>
    </a:band2V>
    <a:lastCol>
      <a:tcTxStyle/>
      <a:tcStyle>
        <a:tcBdr/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tx1">
              <a:lumMod val="75000"/>
              <a:lumOff val="25000"/>
            </a:schemeClr>
          </a:solidFill>
        </a:fill>
      </a:tcStyle>
    </a:firstCol>
    <a:lastRow>
      <a:tcTxStyle b="on">
        <a:fontRef idx="minor">
          <a:prstClr val="black"/>
        </a:fontRef>
        <a:schemeClr val="accent1"/>
      </a:tcTxStyle>
      <a:tcStyle>
        <a:tcBdr/>
        <a:fill>
          <a:solidFill>
            <a:schemeClr val="lt1"/>
          </a:solidFill>
        </a:fill>
      </a:tcStyle>
    </a:lastRow>
    <a:firstRow>
      <a:tcTxStyle b="on">
        <a:fontRef idx="minor">
          <a:prstClr val="black"/>
        </a:fontRef>
        <a:schemeClr val="dk1"/>
      </a:tcTxStyle>
      <a:tcStyle>
        <a:tcBdr>
          <a:bottom>
            <a:ln w="19050" cmpd="sng">
              <a:solidFill>
                <a:schemeClr val="accent1"/>
              </a:solidFill>
            </a:ln>
          </a:bottom>
        </a:tcBdr>
        <a:fill>
          <a:solidFill>
            <a:schemeClr val="l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967"/>
    <p:restoredTop sz="95665"/>
  </p:normalViewPr>
  <p:slideViewPr>
    <p:cSldViewPr snapToGrid="0">
      <p:cViewPr>
        <p:scale>
          <a:sx n="96" d="100"/>
          <a:sy n="96" d="100"/>
        </p:scale>
        <p:origin x="1768" y="5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Relationship Id="rId8" Type="http://schemas.openxmlformats.org/officeDocument/2006/relationships/slide" Target="slides/slide4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5">
  <dgm:title val=""/>
  <dgm:desc val=""/>
  <dgm:catLst>
    <dgm:cat type="accent1" pri="11500"/>
  </dgm:catLst>
  <dgm:styleLbl name="node0">
    <dgm:fillClrLst meth="cycle"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1">
        <a:alpha val="90000"/>
      </a:schemeClr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alpha val="90000"/>
      </a:schemeClr>
      <a:schemeClr val="accent1">
        <a:alpha val="5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/>
    <dgm:txEffectClrLst/>
  </dgm:styleLbl>
  <dgm:styleLbl name="lnNode1">
    <dgm:fillClrLst>
      <a:schemeClr val="accent1">
        <a:shade val="90000"/>
      </a:schemeClr>
      <a:schemeClr val="accent1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  <a:alpha val="90000"/>
      </a:schemeClr>
      <a:schemeClr val="accent1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1">
        <a:alpha val="90000"/>
        <a:tint val="40000"/>
      </a:schemeClr>
      <a:schemeClr val="accent1">
        <a:alpha val="5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E8F2805-9EB6-4F4F-9237-DFE4FD9F859A}" type="doc">
      <dgm:prSet loTypeId="urn:microsoft.com/office/officeart/2005/8/layout/hChevron3" loCatId="" qsTypeId="urn:microsoft.com/office/officeart/2005/8/quickstyle/3d4" qsCatId="3D" csTypeId="urn:microsoft.com/office/officeart/2005/8/colors/accent1_5" csCatId="accent1" phldr="1"/>
      <dgm:spPr/>
    </dgm:pt>
    <dgm:pt modelId="{00C73F99-8841-1B4F-A0FA-4EF61EE29112}">
      <dgm:prSet phldrT="[Text]" custT="1"/>
      <dgm:spPr/>
      <dgm:t>
        <a:bodyPr/>
        <a:lstStyle/>
        <a:p>
          <a:r>
            <a:rPr lang="en-US" sz="1600" b="1"/>
            <a:t>Build</a:t>
          </a:r>
          <a:endParaRPr lang="en-US" sz="1600" b="1" dirty="0"/>
        </a:p>
      </dgm:t>
    </dgm:pt>
    <dgm:pt modelId="{E43F9530-AF22-B143-9C54-91C36CE7FF7C}" type="parTrans" cxnId="{CBFBD0C5-FB7F-FA40-8049-B6E07FE50A6B}">
      <dgm:prSet/>
      <dgm:spPr/>
      <dgm:t>
        <a:bodyPr/>
        <a:lstStyle/>
        <a:p>
          <a:endParaRPr lang="en-US" sz="1600" b="1">
            <a:solidFill>
              <a:schemeClr val="bg1"/>
            </a:solidFill>
          </a:endParaRPr>
        </a:p>
      </dgm:t>
    </dgm:pt>
    <dgm:pt modelId="{308DA167-8E90-1043-A28D-8878083E5013}" type="sibTrans" cxnId="{CBFBD0C5-FB7F-FA40-8049-B6E07FE50A6B}">
      <dgm:prSet/>
      <dgm:spPr/>
      <dgm:t>
        <a:bodyPr/>
        <a:lstStyle/>
        <a:p>
          <a:endParaRPr lang="en-US" sz="1600" b="1">
            <a:solidFill>
              <a:schemeClr val="bg1"/>
            </a:solidFill>
          </a:endParaRPr>
        </a:p>
      </dgm:t>
    </dgm:pt>
    <dgm:pt modelId="{12244506-CD96-0141-9087-EAE69EBA82A0}">
      <dgm:prSet phldrT="[Text]" custT="1"/>
      <dgm:spPr/>
      <dgm:t>
        <a:bodyPr/>
        <a:lstStyle/>
        <a:p>
          <a:r>
            <a:rPr lang="en-US" sz="1600" b="1"/>
            <a:t>Deploy</a:t>
          </a:r>
          <a:endParaRPr lang="en-US" sz="1600" b="1" dirty="0"/>
        </a:p>
      </dgm:t>
    </dgm:pt>
    <dgm:pt modelId="{48E96E60-DF0F-D64C-B575-8A751D6EF314}" type="parTrans" cxnId="{86378D54-6C0F-BC4F-B9C5-F52DED182CE8}">
      <dgm:prSet/>
      <dgm:spPr/>
      <dgm:t>
        <a:bodyPr/>
        <a:lstStyle/>
        <a:p>
          <a:endParaRPr lang="en-US" sz="1600" b="1">
            <a:solidFill>
              <a:schemeClr val="bg1"/>
            </a:solidFill>
          </a:endParaRPr>
        </a:p>
      </dgm:t>
    </dgm:pt>
    <dgm:pt modelId="{41E619DB-2C36-9647-AB0D-F215916CFED1}" type="sibTrans" cxnId="{86378D54-6C0F-BC4F-B9C5-F52DED182CE8}">
      <dgm:prSet/>
      <dgm:spPr/>
      <dgm:t>
        <a:bodyPr/>
        <a:lstStyle/>
        <a:p>
          <a:endParaRPr lang="en-US" sz="1600" b="1">
            <a:solidFill>
              <a:schemeClr val="bg1"/>
            </a:solidFill>
          </a:endParaRPr>
        </a:p>
      </dgm:t>
    </dgm:pt>
    <dgm:pt modelId="{E9DA1232-BB38-6B40-A429-C3EE664A4CB2}">
      <dgm:prSet phldrT="[Text]" custT="1"/>
      <dgm:spPr/>
      <dgm:t>
        <a:bodyPr/>
        <a:lstStyle/>
        <a:p>
          <a:r>
            <a:rPr lang="en-US" sz="1600" b="1"/>
            <a:t>Operate</a:t>
          </a:r>
          <a:endParaRPr lang="en-US" sz="1600" b="1" dirty="0"/>
        </a:p>
      </dgm:t>
    </dgm:pt>
    <dgm:pt modelId="{DF45844A-6115-3C41-8EED-CD13D6FA5FDA}" type="parTrans" cxnId="{27C1C071-ACDF-BA4A-BDD4-3886CFD4FD51}">
      <dgm:prSet/>
      <dgm:spPr/>
      <dgm:t>
        <a:bodyPr/>
        <a:lstStyle/>
        <a:p>
          <a:endParaRPr lang="en-US" sz="1600" b="1">
            <a:solidFill>
              <a:schemeClr val="bg1"/>
            </a:solidFill>
          </a:endParaRPr>
        </a:p>
      </dgm:t>
    </dgm:pt>
    <dgm:pt modelId="{BE6B3541-A3F7-4E4F-A412-849D0ED6B087}" type="sibTrans" cxnId="{27C1C071-ACDF-BA4A-BDD4-3886CFD4FD51}">
      <dgm:prSet/>
      <dgm:spPr/>
      <dgm:t>
        <a:bodyPr/>
        <a:lstStyle/>
        <a:p>
          <a:endParaRPr lang="en-US" sz="1600" b="1">
            <a:solidFill>
              <a:schemeClr val="bg1"/>
            </a:solidFill>
          </a:endParaRPr>
        </a:p>
      </dgm:t>
    </dgm:pt>
    <dgm:pt modelId="{428DA5C9-BE80-F74B-A1DE-F277DF330A9C}" type="pres">
      <dgm:prSet presAssocID="{8E8F2805-9EB6-4F4F-9237-DFE4FD9F859A}" presName="Name0" presStyleCnt="0">
        <dgm:presLayoutVars>
          <dgm:dir/>
          <dgm:resizeHandles val="exact"/>
        </dgm:presLayoutVars>
      </dgm:prSet>
      <dgm:spPr/>
    </dgm:pt>
    <dgm:pt modelId="{29B09F0E-10BA-704B-9C30-947DCFDEA35C}" type="pres">
      <dgm:prSet presAssocID="{00C73F99-8841-1B4F-A0FA-4EF61EE29112}" presName="parTxOnly" presStyleLbl="node1" presStyleIdx="0" presStyleCnt="3">
        <dgm:presLayoutVars>
          <dgm:bulletEnabled val="1"/>
        </dgm:presLayoutVars>
      </dgm:prSet>
      <dgm:spPr/>
    </dgm:pt>
    <dgm:pt modelId="{DDC33418-9892-7D4B-889A-B16DBF9DC0D5}" type="pres">
      <dgm:prSet presAssocID="{308DA167-8E90-1043-A28D-8878083E5013}" presName="parSpace" presStyleCnt="0"/>
      <dgm:spPr/>
    </dgm:pt>
    <dgm:pt modelId="{3897BF4C-43FF-6240-A308-B04E5F114673}" type="pres">
      <dgm:prSet presAssocID="{12244506-CD96-0141-9087-EAE69EBA82A0}" presName="parTxOnly" presStyleLbl="node1" presStyleIdx="1" presStyleCnt="3">
        <dgm:presLayoutVars>
          <dgm:bulletEnabled val="1"/>
        </dgm:presLayoutVars>
      </dgm:prSet>
      <dgm:spPr/>
    </dgm:pt>
    <dgm:pt modelId="{7BFEF3FB-7552-814D-992A-3E1FE0802071}" type="pres">
      <dgm:prSet presAssocID="{41E619DB-2C36-9647-AB0D-F215916CFED1}" presName="parSpace" presStyleCnt="0"/>
      <dgm:spPr/>
    </dgm:pt>
    <dgm:pt modelId="{9D5ABADB-94CA-AB44-A1F3-59E960375644}" type="pres">
      <dgm:prSet presAssocID="{E9DA1232-BB38-6B40-A429-C3EE664A4CB2}" presName="parTxOnly" presStyleLbl="node1" presStyleIdx="2" presStyleCnt="3">
        <dgm:presLayoutVars>
          <dgm:bulletEnabled val="1"/>
        </dgm:presLayoutVars>
      </dgm:prSet>
      <dgm:spPr/>
    </dgm:pt>
  </dgm:ptLst>
  <dgm:cxnLst>
    <dgm:cxn modelId="{43368703-7A21-8543-B3C9-52D164451AE7}" type="presOf" srcId="{12244506-CD96-0141-9087-EAE69EBA82A0}" destId="{3897BF4C-43FF-6240-A308-B04E5F114673}" srcOrd="0" destOrd="0" presId="urn:microsoft.com/office/officeart/2005/8/layout/hChevron3"/>
    <dgm:cxn modelId="{84310347-1F86-AA4E-B9BF-3FBD03329572}" type="presOf" srcId="{00C73F99-8841-1B4F-A0FA-4EF61EE29112}" destId="{29B09F0E-10BA-704B-9C30-947DCFDEA35C}" srcOrd="0" destOrd="0" presId="urn:microsoft.com/office/officeart/2005/8/layout/hChevron3"/>
    <dgm:cxn modelId="{86378D54-6C0F-BC4F-B9C5-F52DED182CE8}" srcId="{8E8F2805-9EB6-4F4F-9237-DFE4FD9F859A}" destId="{12244506-CD96-0141-9087-EAE69EBA82A0}" srcOrd="1" destOrd="0" parTransId="{48E96E60-DF0F-D64C-B575-8A751D6EF314}" sibTransId="{41E619DB-2C36-9647-AB0D-F215916CFED1}"/>
    <dgm:cxn modelId="{27C1C071-ACDF-BA4A-BDD4-3886CFD4FD51}" srcId="{8E8F2805-9EB6-4F4F-9237-DFE4FD9F859A}" destId="{E9DA1232-BB38-6B40-A429-C3EE664A4CB2}" srcOrd="2" destOrd="0" parTransId="{DF45844A-6115-3C41-8EED-CD13D6FA5FDA}" sibTransId="{BE6B3541-A3F7-4E4F-A412-849D0ED6B087}"/>
    <dgm:cxn modelId="{F36484C1-A655-1549-B277-A5D961E4402D}" type="presOf" srcId="{E9DA1232-BB38-6B40-A429-C3EE664A4CB2}" destId="{9D5ABADB-94CA-AB44-A1F3-59E960375644}" srcOrd="0" destOrd="0" presId="urn:microsoft.com/office/officeart/2005/8/layout/hChevron3"/>
    <dgm:cxn modelId="{CBFBD0C5-FB7F-FA40-8049-B6E07FE50A6B}" srcId="{8E8F2805-9EB6-4F4F-9237-DFE4FD9F859A}" destId="{00C73F99-8841-1B4F-A0FA-4EF61EE29112}" srcOrd="0" destOrd="0" parTransId="{E43F9530-AF22-B143-9C54-91C36CE7FF7C}" sibTransId="{308DA167-8E90-1043-A28D-8878083E5013}"/>
    <dgm:cxn modelId="{FC2051FB-AA64-5F40-B1A2-4A65E716D781}" type="presOf" srcId="{8E8F2805-9EB6-4F4F-9237-DFE4FD9F859A}" destId="{428DA5C9-BE80-F74B-A1DE-F277DF330A9C}" srcOrd="0" destOrd="0" presId="urn:microsoft.com/office/officeart/2005/8/layout/hChevron3"/>
    <dgm:cxn modelId="{DA4F557C-DDED-D040-A10C-130D6ECA16E5}" type="presParOf" srcId="{428DA5C9-BE80-F74B-A1DE-F277DF330A9C}" destId="{29B09F0E-10BA-704B-9C30-947DCFDEA35C}" srcOrd="0" destOrd="0" presId="urn:microsoft.com/office/officeart/2005/8/layout/hChevron3"/>
    <dgm:cxn modelId="{391BD006-F3F1-C64E-9D80-6A7DAC4BEC4C}" type="presParOf" srcId="{428DA5C9-BE80-F74B-A1DE-F277DF330A9C}" destId="{DDC33418-9892-7D4B-889A-B16DBF9DC0D5}" srcOrd="1" destOrd="0" presId="urn:microsoft.com/office/officeart/2005/8/layout/hChevron3"/>
    <dgm:cxn modelId="{70F404B1-87DE-1241-8D33-5E3C42B5162E}" type="presParOf" srcId="{428DA5C9-BE80-F74B-A1DE-F277DF330A9C}" destId="{3897BF4C-43FF-6240-A308-B04E5F114673}" srcOrd="2" destOrd="0" presId="urn:microsoft.com/office/officeart/2005/8/layout/hChevron3"/>
    <dgm:cxn modelId="{434D1A60-6006-5742-9F83-370F896E7653}" type="presParOf" srcId="{428DA5C9-BE80-F74B-A1DE-F277DF330A9C}" destId="{7BFEF3FB-7552-814D-992A-3E1FE0802071}" srcOrd="3" destOrd="0" presId="urn:microsoft.com/office/officeart/2005/8/layout/hChevron3"/>
    <dgm:cxn modelId="{CAFF5169-EB15-F142-9881-13877A19E2B7}" type="presParOf" srcId="{428DA5C9-BE80-F74B-A1DE-F277DF330A9C}" destId="{9D5ABADB-94CA-AB44-A1F3-59E960375644}" srcOrd="4" destOrd="0" presId="urn:microsoft.com/office/officeart/2005/8/layout/hChevron3"/>
  </dgm:cxnLst>
  <dgm:bg>
    <a:noFill/>
  </dgm:bg>
  <dgm:whole/>
  <dgm:extLst>
    <a:ext uri="http://schemas.microsoft.com/office/drawing/2008/diagram">
      <dsp:dataModelExt xmlns:dsp="http://schemas.microsoft.com/office/drawing/2008/diagram" relId="rId14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53BE67B-4829-EF4D-89A5-A4FE2EE90A0B}" type="doc">
      <dgm:prSet loTypeId="urn:microsoft.com/office/officeart/2005/8/layout/hChevron3" loCatId="" qsTypeId="urn:microsoft.com/office/officeart/2005/8/quickstyle/simple1" qsCatId="simple" csTypeId="urn:microsoft.com/office/officeart/2005/8/colors/accent1_2" csCatId="accent1" phldr="1"/>
      <dgm:spPr/>
    </dgm:pt>
    <dgm:pt modelId="{342177DC-D38D-C948-B944-B2B6EC8D4129}">
      <dgm:prSet phldrT="[Text]"/>
      <dgm:spPr/>
      <dgm:t>
        <a:bodyPr/>
        <a:lstStyle/>
        <a:p>
          <a:r>
            <a:rPr lang="en-US" dirty="0"/>
            <a:t>VM/ containers</a:t>
          </a:r>
        </a:p>
      </dgm:t>
    </dgm:pt>
    <dgm:pt modelId="{84050BB8-5819-3D4E-92EA-3D1B616E6EA3}" type="parTrans" cxnId="{F150A0C1-1111-254A-90FA-A61BD7302943}">
      <dgm:prSet/>
      <dgm:spPr/>
      <dgm:t>
        <a:bodyPr/>
        <a:lstStyle/>
        <a:p>
          <a:endParaRPr lang="en-US"/>
        </a:p>
      </dgm:t>
    </dgm:pt>
    <dgm:pt modelId="{BA41285F-A502-C14C-9AA8-35CA3882BC68}" type="sibTrans" cxnId="{F150A0C1-1111-254A-90FA-A61BD7302943}">
      <dgm:prSet/>
      <dgm:spPr/>
      <dgm:t>
        <a:bodyPr/>
        <a:lstStyle/>
        <a:p>
          <a:endParaRPr lang="en-US"/>
        </a:p>
      </dgm:t>
    </dgm:pt>
    <dgm:pt modelId="{1A4FE5B9-32AD-A947-90A2-8ECCA405F662}">
      <dgm:prSet phldrT="[Text]"/>
      <dgm:spPr/>
      <dgm:t>
        <a:bodyPr/>
        <a:lstStyle/>
        <a:p>
          <a:r>
            <a:rPr lang="en-US" dirty="0"/>
            <a:t>Hardware</a:t>
          </a:r>
        </a:p>
      </dgm:t>
    </dgm:pt>
    <dgm:pt modelId="{66B2DEC4-D1CC-704D-BE1C-CED7BB6E7593}" type="parTrans" cxnId="{CC45D313-0F56-2349-B29F-B68AC7456E32}">
      <dgm:prSet/>
      <dgm:spPr/>
      <dgm:t>
        <a:bodyPr/>
        <a:lstStyle/>
        <a:p>
          <a:endParaRPr lang="en-US"/>
        </a:p>
      </dgm:t>
    </dgm:pt>
    <dgm:pt modelId="{B33E4A20-4023-5942-8593-1C7C5300E04E}" type="sibTrans" cxnId="{CC45D313-0F56-2349-B29F-B68AC7456E32}">
      <dgm:prSet/>
      <dgm:spPr/>
      <dgm:t>
        <a:bodyPr/>
        <a:lstStyle/>
        <a:p>
          <a:endParaRPr lang="en-US"/>
        </a:p>
      </dgm:t>
    </dgm:pt>
    <dgm:pt modelId="{6FB32A82-30B7-2B48-8DD1-3D26D667C286}">
      <dgm:prSet phldrT="[Text]"/>
      <dgm:spPr/>
      <dgm:t>
        <a:bodyPr/>
        <a:lstStyle/>
        <a:p>
          <a:r>
            <a:rPr lang="en-US" dirty="0"/>
            <a:t>Cloud</a:t>
          </a:r>
        </a:p>
      </dgm:t>
    </dgm:pt>
    <dgm:pt modelId="{F6F7D84E-3984-A345-82FE-831FC3831CB4}" type="parTrans" cxnId="{1686E0E9-54DB-7E46-B117-3E1A33700791}">
      <dgm:prSet/>
      <dgm:spPr/>
      <dgm:t>
        <a:bodyPr/>
        <a:lstStyle/>
        <a:p>
          <a:endParaRPr lang="en-US"/>
        </a:p>
      </dgm:t>
    </dgm:pt>
    <dgm:pt modelId="{34B16490-82D8-CD4D-93AD-5F9099CA818D}" type="sibTrans" cxnId="{1686E0E9-54DB-7E46-B117-3E1A33700791}">
      <dgm:prSet/>
      <dgm:spPr/>
      <dgm:t>
        <a:bodyPr/>
        <a:lstStyle/>
        <a:p>
          <a:endParaRPr lang="en-US"/>
        </a:p>
      </dgm:t>
    </dgm:pt>
    <dgm:pt modelId="{1FF1ED2A-3094-3340-BAB7-170469F5D023}" type="pres">
      <dgm:prSet presAssocID="{253BE67B-4829-EF4D-89A5-A4FE2EE90A0B}" presName="Name0" presStyleCnt="0">
        <dgm:presLayoutVars>
          <dgm:dir/>
          <dgm:resizeHandles val="exact"/>
        </dgm:presLayoutVars>
      </dgm:prSet>
      <dgm:spPr/>
    </dgm:pt>
    <dgm:pt modelId="{25895FAB-7E7C-BD47-8FAB-B91AFB5588D4}" type="pres">
      <dgm:prSet presAssocID="{342177DC-D38D-C948-B944-B2B6EC8D4129}" presName="parTxOnly" presStyleLbl="node1" presStyleIdx="0" presStyleCnt="3">
        <dgm:presLayoutVars>
          <dgm:bulletEnabled val="1"/>
        </dgm:presLayoutVars>
      </dgm:prSet>
      <dgm:spPr/>
    </dgm:pt>
    <dgm:pt modelId="{FF4C0184-FCC6-D644-9D51-564EA713B43E}" type="pres">
      <dgm:prSet presAssocID="{BA41285F-A502-C14C-9AA8-35CA3882BC68}" presName="parSpace" presStyleCnt="0"/>
      <dgm:spPr/>
    </dgm:pt>
    <dgm:pt modelId="{A2C91C4C-9FBB-F248-A310-42D8C67C6EC8}" type="pres">
      <dgm:prSet presAssocID="{1A4FE5B9-32AD-A947-90A2-8ECCA405F662}" presName="parTxOnly" presStyleLbl="node1" presStyleIdx="1" presStyleCnt="3" custLinFactNeighborX="2097" custLinFactNeighborY="-21638">
        <dgm:presLayoutVars>
          <dgm:bulletEnabled val="1"/>
        </dgm:presLayoutVars>
      </dgm:prSet>
      <dgm:spPr/>
    </dgm:pt>
    <dgm:pt modelId="{E9DF5F79-221A-F541-BA78-2FC780C25005}" type="pres">
      <dgm:prSet presAssocID="{B33E4A20-4023-5942-8593-1C7C5300E04E}" presName="parSpace" presStyleCnt="0"/>
      <dgm:spPr/>
    </dgm:pt>
    <dgm:pt modelId="{9D6D5F77-40F7-8645-BE3E-A703348D2F79}" type="pres">
      <dgm:prSet presAssocID="{6FB32A82-30B7-2B48-8DD1-3D26D667C286}" presName="parTxOnly" presStyleLbl="node1" presStyleIdx="2" presStyleCnt="3">
        <dgm:presLayoutVars>
          <dgm:bulletEnabled val="1"/>
        </dgm:presLayoutVars>
      </dgm:prSet>
      <dgm:spPr/>
    </dgm:pt>
  </dgm:ptLst>
  <dgm:cxnLst>
    <dgm:cxn modelId="{CC45D313-0F56-2349-B29F-B68AC7456E32}" srcId="{253BE67B-4829-EF4D-89A5-A4FE2EE90A0B}" destId="{1A4FE5B9-32AD-A947-90A2-8ECCA405F662}" srcOrd="1" destOrd="0" parTransId="{66B2DEC4-D1CC-704D-BE1C-CED7BB6E7593}" sibTransId="{B33E4A20-4023-5942-8593-1C7C5300E04E}"/>
    <dgm:cxn modelId="{A783D972-1C65-984F-98B0-2F9C4E0E2D20}" type="presOf" srcId="{342177DC-D38D-C948-B944-B2B6EC8D4129}" destId="{25895FAB-7E7C-BD47-8FAB-B91AFB5588D4}" srcOrd="0" destOrd="0" presId="urn:microsoft.com/office/officeart/2005/8/layout/hChevron3"/>
    <dgm:cxn modelId="{EF7C1B92-7CFE-A048-B734-9178EB2635DD}" type="presOf" srcId="{253BE67B-4829-EF4D-89A5-A4FE2EE90A0B}" destId="{1FF1ED2A-3094-3340-BAB7-170469F5D023}" srcOrd="0" destOrd="0" presId="urn:microsoft.com/office/officeart/2005/8/layout/hChevron3"/>
    <dgm:cxn modelId="{F150A0C1-1111-254A-90FA-A61BD7302943}" srcId="{253BE67B-4829-EF4D-89A5-A4FE2EE90A0B}" destId="{342177DC-D38D-C948-B944-B2B6EC8D4129}" srcOrd="0" destOrd="0" parTransId="{84050BB8-5819-3D4E-92EA-3D1B616E6EA3}" sibTransId="{BA41285F-A502-C14C-9AA8-35CA3882BC68}"/>
    <dgm:cxn modelId="{32BF38D0-FC2C-B644-BE51-E4E38EB79842}" type="presOf" srcId="{1A4FE5B9-32AD-A947-90A2-8ECCA405F662}" destId="{A2C91C4C-9FBB-F248-A310-42D8C67C6EC8}" srcOrd="0" destOrd="0" presId="urn:microsoft.com/office/officeart/2005/8/layout/hChevron3"/>
    <dgm:cxn modelId="{1686E0E9-54DB-7E46-B117-3E1A33700791}" srcId="{253BE67B-4829-EF4D-89A5-A4FE2EE90A0B}" destId="{6FB32A82-30B7-2B48-8DD1-3D26D667C286}" srcOrd="2" destOrd="0" parTransId="{F6F7D84E-3984-A345-82FE-831FC3831CB4}" sibTransId="{34B16490-82D8-CD4D-93AD-5F9099CA818D}"/>
    <dgm:cxn modelId="{EF04FFF6-EE93-7147-8B81-FFA743A1C884}" type="presOf" srcId="{6FB32A82-30B7-2B48-8DD1-3D26D667C286}" destId="{9D6D5F77-40F7-8645-BE3E-A703348D2F79}" srcOrd="0" destOrd="0" presId="urn:microsoft.com/office/officeart/2005/8/layout/hChevron3"/>
    <dgm:cxn modelId="{8B8E5808-F75F-6E48-9779-529EB2DB8576}" type="presParOf" srcId="{1FF1ED2A-3094-3340-BAB7-170469F5D023}" destId="{25895FAB-7E7C-BD47-8FAB-B91AFB5588D4}" srcOrd="0" destOrd="0" presId="urn:microsoft.com/office/officeart/2005/8/layout/hChevron3"/>
    <dgm:cxn modelId="{E143EE22-58B7-444E-9719-C92F480386F2}" type="presParOf" srcId="{1FF1ED2A-3094-3340-BAB7-170469F5D023}" destId="{FF4C0184-FCC6-D644-9D51-564EA713B43E}" srcOrd="1" destOrd="0" presId="urn:microsoft.com/office/officeart/2005/8/layout/hChevron3"/>
    <dgm:cxn modelId="{695F6F98-7E24-204B-B2F3-B098DDC67582}" type="presParOf" srcId="{1FF1ED2A-3094-3340-BAB7-170469F5D023}" destId="{A2C91C4C-9FBB-F248-A310-42D8C67C6EC8}" srcOrd="2" destOrd="0" presId="urn:microsoft.com/office/officeart/2005/8/layout/hChevron3"/>
    <dgm:cxn modelId="{B98DAD03-94DA-CF43-8932-074DACB1BB7D}" type="presParOf" srcId="{1FF1ED2A-3094-3340-BAB7-170469F5D023}" destId="{E9DF5F79-221A-F541-BA78-2FC780C25005}" srcOrd="3" destOrd="0" presId="urn:microsoft.com/office/officeart/2005/8/layout/hChevron3"/>
    <dgm:cxn modelId="{25394A78-95D9-A848-935C-FE143877B8F3}" type="presParOf" srcId="{1FF1ED2A-3094-3340-BAB7-170469F5D023}" destId="{9D6D5F77-40F7-8645-BE3E-A703348D2F79}" srcOrd="4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9B09F0E-10BA-704B-9C30-947DCFDEA35C}">
      <dsp:nvSpPr>
        <dsp:cNvPr id="0" name=""/>
        <dsp:cNvSpPr/>
      </dsp:nvSpPr>
      <dsp:spPr>
        <a:xfrm>
          <a:off x="3571" y="0"/>
          <a:ext cx="3123406" cy="520943"/>
        </a:xfrm>
        <a:prstGeom prst="homePlate">
          <a:avLst/>
        </a:prstGeom>
        <a:solidFill>
          <a:schemeClr val="accent1">
            <a:alpha val="9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/>
            <a:t>Build</a:t>
          </a:r>
          <a:endParaRPr lang="en-US" sz="1600" b="1" kern="1200" dirty="0"/>
        </a:p>
      </dsp:txBody>
      <dsp:txXfrm>
        <a:off x="3571" y="0"/>
        <a:ext cx="2993170" cy="520943"/>
      </dsp:txXfrm>
    </dsp:sp>
    <dsp:sp modelId="{3897BF4C-43FF-6240-A308-B04E5F114673}">
      <dsp:nvSpPr>
        <dsp:cNvPr id="0" name=""/>
        <dsp:cNvSpPr/>
      </dsp:nvSpPr>
      <dsp:spPr>
        <a:xfrm>
          <a:off x="2502296" y="0"/>
          <a:ext cx="3123406" cy="520943"/>
        </a:xfrm>
        <a:prstGeom prst="chevron">
          <a:avLst/>
        </a:prstGeom>
        <a:solidFill>
          <a:schemeClr val="accent1">
            <a:alpha val="90000"/>
            <a:hueOff val="0"/>
            <a:satOff val="0"/>
            <a:lumOff val="0"/>
            <a:alphaOff val="-2000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/>
            <a:t>Deploy</a:t>
          </a:r>
          <a:endParaRPr lang="en-US" sz="1600" b="1" kern="1200" dirty="0"/>
        </a:p>
      </dsp:txBody>
      <dsp:txXfrm>
        <a:off x="2762768" y="0"/>
        <a:ext cx="2602463" cy="520943"/>
      </dsp:txXfrm>
    </dsp:sp>
    <dsp:sp modelId="{9D5ABADB-94CA-AB44-A1F3-59E960375644}">
      <dsp:nvSpPr>
        <dsp:cNvPr id="0" name=""/>
        <dsp:cNvSpPr/>
      </dsp:nvSpPr>
      <dsp:spPr>
        <a:xfrm>
          <a:off x="5001021" y="0"/>
          <a:ext cx="3123406" cy="520943"/>
        </a:xfrm>
        <a:prstGeom prst="chevron">
          <a:avLst/>
        </a:prstGeom>
        <a:solidFill>
          <a:schemeClr val="accent1">
            <a:alpha val="90000"/>
            <a:hueOff val="0"/>
            <a:satOff val="0"/>
            <a:lumOff val="0"/>
            <a:alphaOff val="-4000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/>
            <a:t>Operate</a:t>
          </a:r>
          <a:endParaRPr lang="en-US" sz="1600" b="1" kern="1200" dirty="0"/>
        </a:p>
      </dsp:txBody>
      <dsp:txXfrm>
        <a:off x="5261493" y="0"/>
        <a:ext cx="2602463" cy="52094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5895FAB-7E7C-BD47-8FAB-B91AFB5588D4}">
      <dsp:nvSpPr>
        <dsp:cNvPr id="0" name=""/>
        <dsp:cNvSpPr/>
      </dsp:nvSpPr>
      <dsp:spPr>
        <a:xfrm>
          <a:off x="4670" y="0"/>
          <a:ext cx="4083853" cy="448732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64008" rIns="32004" bIns="64008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VM/ containers</a:t>
          </a:r>
        </a:p>
      </dsp:txBody>
      <dsp:txXfrm>
        <a:off x="4670" y="0"/>
        <a:ext cx="3971670" cy="448732"/>
      </dsp:txXfrm>
    </dsp:sp>
    <dsp:sp modelId="{A2C91C4C-9FBB-F248-A310-42D8C67C6EC8}">
      <dsp:nvSpPr>
        <dsp:cNvPr id="0" name=""/>
        <dsp:cNvSpPr/>
      </dsp:nvSpPr>
      <dsp:spPr>
        <a:xfrm>
          <a:off x="3288880" y="0"/>
          <a:ext cx="4083853" cy="448732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6012" tIns="64008" rIns="32004" bIns="64008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Hardware</a:t>
          </a:r>
        </a:p>
      </dsp:txBody>
      <dsp:txXfrm>
        <a:off x="3513246" y="0"/>
        <a:ext cx="3635121" cy="448732"/>
      </dsp:txXfrm>
    </dsp:sp>
    <dsp:sp modelId="{9D6D5F77-40F7-8645-BE3E-A703348D2F79}">
      <dsp:nvSpPr>
        <dsp:cNvPr id="0" name=""/>
        <dsp:cNvSpPr/>
      </dsp:nvSpPr>
      <dsp:spPr>
        <a:xfrm>
          <a:off x="6538836" y="0"/>
          <a:ext cx="4083853" cy="448732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6012" tIns="64008" rIns="32004" bIns="64008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Cloud</a:t>
          </a:r>
        </a:p>
      </dsp:txBody>
      <dsp:txXfrm>
        <a:off x="6763202" y="0"/>
        <a:ext cx="3635121" cy="44873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732AE93-04B0-4B14-9BA9-5A4E1E888D4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3657600" cy="458787"/>
          </a:xfrm>
          <a:prstGeom prst="rect">
            <a:avLst/>
          </a:prstGeom>
        </p:spPr>
        <p:txBody>
          <a:bodyPr vert="horz" lIns="182880" tIns="182880" rIns="182880" bIns="182880" rtlCol="0" anchor="b"/>
          <a:lstStyle>
            <a:lvl1pPr algn="l">
              <a:defRPr sz="1200"/>
            </a:lvl1pPr>
          </a:lstStyle>
          <a:p>
            <a:r>
              <a:rPr lang="en-US" sz="800">
                <a:solidFill>
                  <a:schemeClr val="tx1">
                    <a:lumMod val="50000"/>
                    <a:lumOff val="50000"/>
                  </a:schemeClr>
                </a:solidFill>
              </a:rPr>
              <a:t>© 2022 Keysight Technologies and/or its affiliates. All rights reserved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DE6FEEE-424C-49DA-AAE0-6FD6D9B0551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943600" y="8685213"/>
            <a:ext cx="914400" cy="458787"/>
          </a:xfrm>
          <a:prstGeom prst="rect">
            <a:avLst/>
          </a:prstGeom>
        </p:spPr>
        <p:txBody>
          <a:bodyPr vert="horz" lIns="182880" tIns="182880" rIns="182880" bIns="182880" rtlCol="0" anchor="b"/>
          <a:lstStyle>
            <a:lvl1pPr algn="r">
              <a:defRPr sz="1200"/>
            </a:lvl1pPr>
          </a:lstStyle>
          <a:p>
            <a:fld id="{836D5859-1D5A-48C7-BA8C-83EF8FC1CBCA}" type="slidenum">
              <a:rPr lang="en-US" sz="8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‹#›</a:t>
            </a:fld>
            <a:endParaRPr lang="en-US" sz="8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357467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501650" y="914400"/>
            <a:ext cx="5854700" cy="3294063"/>
          </a:xfrm>
          <a:prstGeom prst="rect">
            <a:avLst/>
          </a:prstGeom>
          <a:noFill/>
          <a:ln w="12700">
            <a:solidFill>
              <a:schemeClr val="tx2"/>
            </a:solidFill>
            <a:miter lim="800000"/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514353" y="4400549"/>
            <a:ext cx="5829301" cy="3600451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-1" y="8685213"/>
            <a:ext cx="3657600" cy="458787"/>
          </a:xfrm>
          <a:prstGeom prst="rect">
            <a:avLst/>
          </a:prstGeom>
        </p:spPr>
        <p:txBody>
          <a:bodyPr vert="horz" wrap="square" lIns="182880" tIns="182880" rIns="182880" bIns="182880" rtlCol="0" anchor="b">
            <a:noAutofit/>
          </a:bodyPr>
          <a:lstStyle>
            <a:lvl1pPr>
              <a:defRPr 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© 2022 Keysight Technologies and/or its affiliates. All rights reserved.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943600" y="8685213"/>
            <a:ext cx="914400" cy="458787"/>
          </a:xfrm>
          <a:prstGeom prst="rect">
            <a:avLst/>
          </a:prstGeom>
        </p:spPr>
        <p:txBody>
          <a:bodyPr vert="horz" lIns="182880" tIns="182880" rIns="182880" bIns="182880" rtlCol="0" anchor="b"/>
          <a:lstStyle>
            <a:lvl1pPr algn="r">
              <a:defRPr sz="8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8FDEE44-2F84-48D1-BBF6-82E16595D1F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31822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spcBef>
        <a:spcPts val="400"/>
      </a:spcBef>
      <a:buFont typeface="Arial" panose="020B0604020202020204" pitchFamily="34" charset="0"/>
      <a:buChar char="​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0" indent="-13716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274320" indent="-13716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411480" indent="-13716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548640" indent="-13716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>
                <a:solidFill>
                  <a:srgbClr val="EB0023"/>
                </a:solidFill>
              </a:rPr>
              <a:t>UPDATE SLIDE WITH YOUR NAME, TITLE, AND THE DATE</a:t>
            </a:r>
          </a:p>
          <a:p>
            <a:endParaRPr lang="en-US" b="1">
              <a:solidFill>
                <a:srgbClr val="EB0023"/>
              </a:solidFill>
            </a:endParaRPr>
          </a:p>
          <a:p>
            <a:r>
              <a:rPr lang="en-US" i="1"/>
              <a:t>Introduce yourself and your role at Keysight.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8FDEE44-2F84-48D1-BBF6-82E16595D1F6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4952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24F5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24F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ce breaker before the official presentation …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24F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irthplace of Silicon Valley – Palo Alto Garage – William Hewlett &amp; David Packar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24F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  <a:r>
              <a:rPr kumimoji="0" lang="en-US" sz="1200" b="0" i="0" u="none" strike="noStrike" kern="1200" cap="none" spc="0" normalizeH="0" baseline="30000" noProof="0">
                <a:ln>
                  <a:noFill/>
                </a:ln>
                <a:solidFill>
                  <a:srgbClr val="524F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24F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roduct HP 200A  Audio Oscillator  20hz to 20khz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24F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ne of first customers – Disney – 8 units at $77.15 each  HP 200B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24F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sed to setup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524F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antasound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24F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– what movie?  1940  Animated movie.  Fantasia.  # discrete sound channels:  8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24F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lever engineering trick - 15W lightbulb – acted as a low cost variable resisto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24F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riations sold for 30+ years and in use until 1990s in some lab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24F5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24F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xcited to talk about testing AI networks. 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24F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ch Field Day is the first public discussion about our solution though we have been actively working with customers for over 2 year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24F5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24F5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24F5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24F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939-1998:  A company founded on electronic measurement innov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24F5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90029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24F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999-2013: Agilent Technologies Years -- Spun off from HP, Agilent became the world’s premier measurement company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90029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24F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 September 2013, it announced the spinoff of its electronic measurement business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90029"/>
              </a:buClr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24F5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90029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24F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14- Present: Keysight became an independent company focused on electronic measurement solutions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90029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24F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17 – Keysight acquires Ixia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90029"/>
              </a:buClr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24F5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24F5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575EFE-4BA0-474E-B09A-A0D8597D1CA8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24675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r>
              <a:rPr lang="en-US" sz="1200" kern="1200" dirty="0">
                <a:solidFill>
                  <a:schemeClr val="tx1"/>
                </a:solidFill>
                <a:effectLst/>
                <a:latin typeface="Arial"/>
                <a:cs typeface="Arial"/>
              </a:rPr>
              <a:t>Keysight has</a:t>
            </a:r>
            <a:r>
              <a:rPr lang="en-US" dirty="0">
                <a:latin typeface="Arial"/>
                <a:cs typeface="Arial"/>
              </a:rPr>
              <a:t> $5.0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/>
                <a:cs typeface="Arial"/>
              </a:rPr>
              <a:t> billion in annual revenue. We have over 40,000 customers in more than 100 countries, supported by our employees around the globe. More than 3</a:t>
            </a:r>
            <a:r>
              <a:rPr lang="en-US" dirty="0">
                <a:latin typeface="Arial"/>
                <a:cs typeface="Arial"/>
              </a:rPr>
              <a:t>,800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/>
                <a:cs typeface="Arial"/>
              </a:rPr>
              <a:t> patents attest to our rich knowledge capital and dedicated investment in cutting-edge R&amp;D. Why should that matter to you? Because we apply all our strengths to one purpose:</a:t>
            </a:r>
            <a:r>
              <a:rPr lang="en-US" sz="1200" dirty="0">
                <a:latin typeface="Arial"/>
                <a:cs typeface="Arial"/>
              </a:rPr>
              <a:t> serving our customers and accelerating innovation to connect and secure the world. This is our company’s mission. And our promise.</a:t>
            </a:r>
            <a:endParaRPr lang="en-US" dirty="0">
              <a:latin typeface="Arial"/>
              <a:cs typeface="Arial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FDEE44-2F84-48D1-BBF6-82E16595D1F6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1679651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Google Shape;99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0" name="Google Shape;100;p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r>
              <a:rPr lang="en-US" dirty="0"/>
              <a:t>Mano</a:t>
            </a:r>
          </a:p>
          <a:p>
            <a:pPr marL="22860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AutoNum type="arabicPeriod"/>
            </a:pPr>
            <a:r>
              <a:rPr lang="en-US" dirty="0"/>
              <a:t>Explain traffic generator concept</a:t>
            </a:r>
          </a:p>
          <a:p>
            <a:pPr marL="22860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AutoNum type="arabicPeriod"/>
            </a:pPr>
            <a:r>
              <a:rPr lang="en-US" dirty="0"/>
              <a:t>It is not just a traffic generator but also CP emulator</a:t>
            </a:r>
          </a:p>
          <a:p>
            <a:pPr marL="22860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AutoNum type="arabicPeriod"/>
            </a:pPr>
            <a:r>
              <a:rPr lang="en-US" dirty="0"/>
              <a:t>Not to build an actual network to test a network</a:t>
            </a:r>
          </a:p>
          <a:p>
            <a:pPr marL="22860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AutoNum type="arabicPeriod"/>
            </a:pPr>
            <a:r>
              <a:rPr lang="en-US" dirty="0"/>
              <a:t>Experiment while building, confidence while deploying, and assurance while operating</a:t>
            </a:r>
            <a:endParaRPr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8FDEE44-2F84-48D1-BBF6-82E16595D1F6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920645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 idx="2"/>
          </p:nvPr>
        </p:nvSpPr>
        <p:spPr>
          <a:xfrm>
            <a:off x="481013" y="1279525"/>
            <a:ext cx="6140450" cy="3454400"/>
          </a:xfrm>
        </p:spPr>
      </p:sp>
      <p:sp>
        <p:nvSpPr>
          <p:cNvPr id="3" name="Text Placeholder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B2AA4F-B828-4D7C-AFD3-893933DAFCB4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84558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 idx="2"/>
          </p:nvPr>
        </p:nvSpPr>
        <p:spPr>
          <a:xfrm>
            <a:off x="481013" y="1279525"/>
            <a:ext cx="6140450" cy="3454400"/>
          </a:xfrm>
        </p:spPr>
      </p:sp>
      <p:sp>
        <p:nvSpPr>
          <p:cNvPr id="3" name="Text Placeholder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B2AA4F-B828-4D7C-AFD3-893933DAFCB4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192336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8FDEE44-2F84-48D1-BBF6-82E16595D1F6}" type="slidenum">
              <a:rPr lang="en-US" smtClean="0"/>
              <a:pPr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18148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page with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3">
            <a:extLst>
              <a:ext uri="{FF2B5EF4-FFF2-40B4-BE49-F238E27FC236}">
                <a16:creationId xmlns:a16="http://schemas.microsoft.com/office/drawing/2014/main" id="{570BD540-4FEF-AB4D-91E5-E26413DD67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548640"/>
            <a:ext cx="1051560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28">
            <a:extLst>
              <a:ext uri="{FF2B5EF4-FFF2-40B4-BE49-F238E27FC236}">
                <a16:creationId xmlns:a16="http://schemas.microsoft.com/office/drawing/2014/main" id="{6608DFD9-D976-CA44-AB7C-48FC98B1981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85800" y="941832"/>
            <a:ext cx="10515600" cy="39567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50000"/>
              </a:lnSpc>
              <a:buNone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b="1" i="0" err="1">
                <a:latin typeface="Arial" panose="020B0604020202020204" pitchFamily="34" charset="0"/>
                <a:cs typeface="Arial" panose="020B0604020202020204" pitchFamily="34" charset="0"/>
              </a:rPr>
              <a:t>Subheadline</a:t>
            </a:r>
            <a:endParaRPr lang="en-US"/>
          </a:p>
        </p:txBody>
      </p:sp>
      <p:pic>
        <p:nvPicPr>
          <p:cNvPr id="12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18A7A323-C30A-3049-89BD-D5DD3A50B18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688803" y="6461276"/>
            <a:ext cx="927253" cy="163382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76CA7A6-F645-4980-A2CC-A96CE98EF508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>
            <a:lvl1pPr>
              <a:defRPr sz="900"/>
            </a:lvl1pPr>
          </a:lstStyle>
          <a:p>
            <a:r>
              <a:rPr lang="en-US"/>
              <a:t>Keysight Elastic Network Generator</a:t>
            </a:r>
          </a:p>
        </p:txBody>
      </p:sp>
    </p:spTree>
    <p:extLst>
      <p:ext uri="{BB962C8B-B14F-4D97-AF65-F5344CB8AC3E}">
        <p14:creationId xmlns:p14="http://schemas.microsoft.com/office/powerpoint/2010/main" val="931912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32" userDrawn="1">
          <p15:clr>
            <a:srgbClr val="FBAE40"/>
          </p15:clr>
        </p15:guide>
        <p15:guide id="4" orient="horz" pos="3960">
          <p15:clr>
            <a:srgbClr val="FBAE40"/>
          </p15:clr>
        </p15:guide>
        <p15:guide id="5" orient="horz" pos="360">
          <p15:clr>
            <a:srgbClr val="FBAE40"/>
          </p15:clr>
        </p15:guide>
        <p15:guide id="6" pos="7152">
          <p15:clr>
            <a:srgbClr val="FBAE40"/>
          </p15:clr>
        </p15:guide>
        <p15:guide id="7" orient="horz" pos="768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Option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>
            <a:extLst>
              <a:ext uri="{FF2B5EF4-FFF2-40B4-BE49-F238E27FC236}">
                <a16:creationId xmlns:a16="http://schemas.microsoft.com/office/drawing/2014/main" id="{16670A71-03FD-284C-90FD-84BB9921C10D}"/>
              </a:ext>
            </a:extLst>
          </p:cNvPr>
          <p:cNvSpPr txBox="1">
            <a:spLocks/>
          </p:cNvSpPr>
          <p:nvPr userDrawn="1"/>
        </p:nvSpPr>
        <p:spPr>
          <a:xfrm>
            <a:off x="6095999" y="1876526"/>
            <a:ext cx="5275730" cy="371589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kumimoji="0" lang="en-US" sz="24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Bold" panose="020B0704020202090204" charset="0"/>
                <a:ea typeface="+mj-ea"/>
                <a:cs typeface="Arial Bold" panose="020B0704020202090204" charset="0"/>
              </a:defRPr>
            </a:lvl1pPr>
          </a:lstStyle>
          <a:p>
            <a:pPr>
              <a:lnSpc>
                <a:spcPct val="90000"/>
              </a:lnSpc>
              <a:defRPr/>
            </a:pPr>
            <a:endParaRPr lang="en-US">
              <a:ea typeface="+mn-ea"/>
            </a:endParaRP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7C3EAAB0-E5E4-274A-8E9C-BB2E1EC7A2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94944" y="1600200"/>
            <a:ext cx="10526428" cy="400875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50000"/>
              </a:lnSpc>
              <a:buNone/>
              <a:defRPr sz="18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6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85CFFAC5-B629-C048-8B4E-7EBD0F6B810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688803" y="6461276"/>
            <a:ext cx="927253" cy="163382"/>
          </a:xfrm>
          <a:prstGeom prst="rect">
            <a:avLst/>
          </a:prstGeom>
        </p:spPr>
      </p:pic>
      <p:sp>
        <p:nvSpPr>
          <p:cNvPr id="7" name="Text Placeholder 28">
            <a:extLst>
              <a:ext uri="{FF2B5EF4-FFF2-40B4-BE49-F238E27FC236}">
                <a16:creationId xmlns:a16="http://schemas.microsoft.com/office/drawing/2014/main" id="{4E447793-F4F4-1F42-8DA4-7DBF5378383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85800" y="941832"/>
            <a:ext cx="10515600" cy="39567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50000"/>
              </a:lnSpc>
              <a:buNone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b="1" i="0" err="1">
                <a:latin typeface="Arial" panose="020B0604020202020204" pitchFamily="34" charset="0"/>
                <a:cs typeface="Arial" panose="020B0604020202020204" pitchFamily="34" charset="0"/>
              </a:rPr>
              <a:t>Subheadline</a:t>
            </a:r>
            <a:endParaRPr lang="en-US"/>
          </a:p>
        </p:txBody>
      </p:sp>
      <p:sp>
        <p:nvSpPr>
          <p:cNvPr id="9" name="Title Placeholder 3">
            <a:extLst>
              <a:ext uri="{FF2B5EF4-FFF2-40B4-BE49-F238E27FC236}">
                <a16:creationId xmlns:a16="http://schemas.microsoft.com/office/drawing/2014/main" id="{4397E0C2-1A0E-7B45-B246-01690FB524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548640"/>
            <a:ext cx="1051560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182CB0D-FCAC-4933-B205-18037BD73659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r>
              <a:rPr lang="en-US"/>
              <a:t>Keysight Elastic Network Generator</a:t>
            </a:r>
          </a:p>
        </p:txBody>
      </p:sp>
    </p:spTree>
    <p:extLst>
      <p:ext uri="{BB962C8B-B14F-4D97-AF65-F5344CB8AC3E}">
        <p14:creationId xmlns:p14="http://schemas.microsoft.com/office/powerpoint/2010/main" val="16739567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480" userDrawn="1">
          <p15:clr>
            <a:srgbClr val="FBAE40"/>
          </p15:clr>
        </p15:guide>
        <p15:guide id="4" orient="horz" pos="3953">
          <p15:clr>
            <a:srgbClr val="FBAE40"/>
          </p15:clr>
        </p15:guide>
        <p15:guide id="5" pos="7152">
          <p15:clr>
            <a:srgbClr val="FBAE40"/>
          </p15:clr>
        </p15:guide>
        <p15:guide id="6" orient="horz" pos="600" userDrawn="1">
          <p15:clr>
            <a:srgbClr val="FBAE40"/>
          </p15:clr>
        </p15:guide>
        <p15:guide id="7" pos="432" userDrawn="1">
          <p15:clr>
            <a:srgbClr val="FBAE40"/>
          </p15:clr>
        </p15:guide>
        <p15:guide id="8" pos="4080" userDrawn="1">
          <p15:clr>
            <a:srgbClr val="FBAE40"/>
          </p15:clr>
        </p15:guide>
        <p15:guide id="9" orient="horz" pos="1008" userDrawn="1">
          <p15:clr>
            <a:srgbClr val="FBAE40"/>
          </p15:clr>
        </p15:guide>
        <p15:guide id="10" orient="horz" pos="3552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ondary Divider Wav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 descr="A picture containing shape&#10;&#10;Description automatically generated">
            <a:extLst>
              <a:ext uri="{FF2B5EF4-FFF2-40B4-BE49-F238E27FC236}">
                <a16:creationId xmlns:a16="http://schemas.microsoft.com/office/drawing/2014/main" id="{34A7F196-5670-AD4E-BF48-11F2AB93F48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913F8298-BACD-5E41-AEE5-78D60F8441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50392" y="376346"/>
            <a:ext cx="9553902" cy="1325563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4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old" panose="020B0704020202090204" charset="0"/>
                <a:cs typeface="Arial Bold" panose="020B070402020209020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solidFill>
                  <a:schemeClr val="bg1"/>
                </a:solidFill>
              </a:rPr>
              <a:t>Lorem ipsum dolor sit</a:t>
            </a:r>
            <a:br>
              <a:rPr lang="en-US">
                <a:solidFill>
                  <a:schemeClr val="bg1"/>
                </a:solidFill>
              </a:rPr>
            </a:br>
            <a:r>
              <a:rPr lang="en-US" err="1">
                <a:solidFill>
                  <a:schemeClr val="bg1"/>
                </a:solidFill>
              </a:rPr>
              <a:t>consect</a:t>
            </a:r>
            <a:r>
              <a:rPr lang="en-US">
                <a:solidFill>
                  <a:schemeClr val="bg1"/>
                </a:solidFill>
              </a:rPr>
              <a:t> </a:t>
            </a:r>
            <a:r>
              <a:rPr lang="en-US" err="1">
                <a:solidFill>
                  <a:schemeClr val="bg1"/>
                </a:solidFill>
              </a:rPr>
              <a:t>adipiscing</a:t>
            </a:r>
            <a:r>
              <a:rPr lang="en-US">
                <a:solidFill>
                  <a:schemeClr val="bg1"/>
                </a:solidFill>
              </a:rPr>
              <a:t>.</a:t>
            </a:r>
            <a:endParaRPr kumimoji="0" lang="en-US" sz="4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old" panose="020B0704020202090204" charset="0"/>
              <a:ea typeface="+mn-ea"/>
              <a:cs typeface="Arial Bold" panose="020B070402020209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39241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28">
          <p15:clr>
            <a:srgbClr val="FBAE40"/>
          </p15:clr>
        </p15:guide>
        <p15:guide id="4" orient="horz" pos="360">
          <p15:clr>
            <a:srgbClr val="FBAE40"/>
          </p15:clr>
        </p15:guide>
        <p15:guide id="5" orient="horz" pos="3960">
          <p15:clr>
            <a:srgbClr val="FBAE40"/>
          </p15:clr>
        </p15:guide>
        <p15:guide id="6" pos="7152">
          <p15:clr>
            <a:srgbClr val="FBAE40"/>
          </p15:clr>
        </p15:guide>
        <p15:guide id="7" orient="horz" pos="648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ondary Divider Wav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shape&#10;&#10;Description automatically generated">
            <a:extLst>
              <a:ext uri="{FF2B5EF4-FFF2-40B4-BE49-F238E27FC236}">
                <a16:creationId xmlns:a16="http://schemas.microsoft.com/office/drawing/2014/main" id="{B3DCC914-95DC-B04F-BDCE-923C4DCE777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913F8298-BACD-5E41-AEE5-78D60F8441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51802" y="376346"/>
            <a:ext cx="9555480" cy="1325563"/>
          </a:xfrm>
          <a:prstGeom prst="rect">
            <a:avLst/>
          </a:prstGeom>
        </p:spPr>
        <p:txBody>
          <a:bodyPr lIns="0" tIns="0" rIns="0" bIns="0" anchor="b" anchorCtr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4000" dirty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>
              <a:lnSpc>
                <a:spcPct val="90000"/>
              </a:lnSpc>
              <a:defRPr/>
            </a:pPr>
            <a:r>
              <a:rPr lang="en-US">
                <a:solidFill>
                  <a:schemeClr val="tx1"/>
                </a:solidFill>
              </a:rPr>
              <a:t>Lorem ipsum dolor sit</a:t>
            </a:r>
            <a:br>
              <a:rPr lang="en-US">
                <a:solidFill>
                  <a:schemeClr val="tx1"/>
                </a:solidFill>
              </a:rPr>
            </a:br>
            <a:r>
              <a:rPr lang="en-US" err="1">
                <a:solidFill>
                  <a:schemeClr val="tx1"/>
                </a:solidFill>
              </a:rPr>
              <a:t>consect</a:t>
            </a:r>
            <a:r>
              <a:rPr lang="en-US">
                <a:solidFill>
                  <a:schemeClr val="tx1"/>
                </a:solidFill>
              </a:rPr>
              <a:t> </a:t>
            </a:r>
            <a:r>
              <a:rPr lang="en-US" err="1">
                <a:solidFill>
                  <a:schemeClr val="tx1"/>
                </a:solidFill>
              </a:rPr>
              <a:t>adipiscing</a:t>
            </a:r>
            <a:r>
              <a:rPr lang="en-US">
                <a:solidFill>
                  <a:schemeClr val="tx1"/>
                </a:solidFill>
              </a:rPr>
              <a:t>.</a:t>
            </a:r>
            <a:endParaRPr lang="en-US">
              <a:solidFill>
                <a:schemeClr val="tx1"/>
              </a:solidFill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3295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28">
          <p15:clr>
            <a:srgbClr val="FBAE40"/>
          </p15:clr>
        </p15:guide>
        <p15:guide id="4" pos="7152">
          <p15:clr>
            <a:srgbClr val="FBAE40"/>
          </p15:clr>
        </p15:guide>
        <p15:guide id="5" orient="horz" pos="360">
          <p15:clr>
            <a:srgbClr val="FBAE40"/>
          </p15:clr>
        </p15:guide>
        <p15:guide id="6" orient="horz" pos="3960">
          <p15:clr>
            <a:srgbClr val="FBAE40"/>
          </p15:clr>
        </p15:guide>
        <p15:guide id="7" orient="horz" pos="648" userDrawn="1">
          <p15:clr>
            <a:srgbClr val="FBAE40"/>
          </p15:clr>
        </p15:guide>
        <p15:guide id="8" pos="6456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1191548F-C037-D647-ACC2-6080DD57913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688803" y="6461276"/>
            <a:ext cx="927253" cy="163382"/>
          </a:xfrm>
          <a:prstGeom prst="rect">
            <a:avLst/>
          </a:prstGeom>
        </p:spPr>
      </p:pic>
      <p:sp>
        <p:nvSpPr>
          <p:cNvPr id="14" name="Text Placeholder 28">
            <a:extLst>
              <a:ext uri="{FF2B5EF4-FFF2-40B4-BE49-F238E27FC236}">
                <a16:creationId xmlns:a16="http://schemas.microsoft.com/office/drawing/2014/main" id="{E4B21DCD-7B35-9343-AFE7-EA8C4A63457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85800" y="941832"/>
            <a:ext cx="10515600" cy="39567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50000"/>
              </a:lnSpc>
              <a:buNone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b="1" i="0" err="1">
                <a:latin typeface="Arial" panose="020B0604020202020204" pitchFamily="34" charset="0"/>
                <a:cs typeface="Arial" panose="020B0604020202020204" pitchFamily="34" charset="0"/>
              </a:rPr>
              <a:t>Subheadline</a:t>
            </a:r>
            <a:endParaRPr lang="en-US"/>
          </a:p>
        </p:txBody>
      </p:sp>
      <p:sp>
        <p:nvSpPr>
          <p:cNvPr id="12" name="Title Placeholder 3">
            <a:extLst>
              <a:ext uri="{FF2B5EF4-FFF2-40B4-BE49-F238E27FC236}">
                <a16:creationId xmlns:a16="http://schemas.microsoft.com/office/drawing/2014/main" id="{11FF4F54-F7FD-DD43-9035-9F3CA29575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548640"/>
            <a:ext cx="10515600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1328E68-FAFD-4459-B320-6AE6F3BB7917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694944" y="1957388"/>
            <a:ext cx="10643616" cy="3785616"/>
          </a:xfrm>
          <a:prstGeom prst="rect">
            <a:avLst/>
          </a:prstGeom>
        </p:spPr>
        <p:txBody>
          <a:bodyPr lIns="0"/>
          <a:lstStyle>
            <a:lvl1pPr marL="182880" indent="-182880">
              <a:defRPr lang="en-US" sz="20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65760" indent="-182880">
              <a:defRPr lang="en-US" sz="18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0352" indent="-164592">
              <a:defRPr lang="en-US" sz="1600" kern="1200" spc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687388" indent="-171450">
              <a:defRPr lang="en-US" sz="1400" b="0" kern="1200" cap="none" spc="0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858837" indent="-171450">
              <a:defRPr lang="en-US" sz="1200" b="0" kern="1200" cap="none" spc="0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marL="182880" lvl="0" indent="-18288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</a:pPr>
            <a:r>
              <a:rPr lang="en-US"/>
              <a:t>Click to edit Master text styles</a:t>
            </a:r>
          </a:p>
          <a:p>
            <a:pPr marL="182880" lvl="1" indent="-18288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</a:pPr>
            <a:r>
              <a:rPr lang="en-US"/>
              <a:t>Second level</a:t>
            </a:r>
          </a:p>
          <a:p>
            <a:pPr marL="182880" lvl="2" indent="-18288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</a:pPr>
            <a:r>
              <a:rPr lang="en-US"/>
              <a:t>Third level</a:t>
            </a:r>
          </a:p>
          <a:p>
            <a:pPr marL="182880" lvl="3" indent="-18288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</a:pPr>
            <a:r>
              <a:rPr lang="en-US"/>
              <a:t>Fourth level</a:t>
            </a:r>
          </a:p>
          <a:p>
            <a:pPr marL="182880" lvl="4" indent="-18288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</a:pPr>
            <a:r>
              <a:rPr lang="en-US"/>
              <a:t>Fifth lev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7E97B28-9F0A-426D-88B2-B1AB907B8220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en-US"/>
              <a:t>Keysight Elastic Network Generator</a:t>
            </a:r>
          </a:p>
        </p:txBody>
      </p:sp>
    </p:spTree>
    <p:extLst>
      <p:ext uri="{BB962C8B-B14F-4D97-AF65-F5344CB8AC3E}">
        <p14:creationId xmlns:p14="http://schemas.microsoft.com/office/powerpoint/2010/main" val="9328208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4" pos="7152">
          <p15:clr>
            <a:srgbClr val="FBAE40"/>
          </p15:clr>
        </p15:guide>
        <p15:guide id="5" orient="horz" pos="4152" userDrawn="1">
          <p15:clr>
            <a:srgbClr val="FBAE40"/>
          </p15:clr>
        </p15:guide>
        <p15:guide id="6" orient="horz" pos="528" userDrawn="1">
          <p15:clr>
            <a:srgbClr val="FBAE40"/>
          </p15:clr>
        </p15:guide>
        <p15:guide id="7" orient="horz" pos="1224" userDrawn="1">
          <p15:clr>
            <a:srgbClr val="FBAE40"/>
          </p15:clr>
        </p15:guide>
        <p15:guide id="8" orient="horz" pos="3624" userDrawn="1">
          <p15:clr>
            <a:srgbClr val="FBAE40"/>
          </p15:clr>
        </p15:guide>
        <p15:guide id="9" pos="432" userDrawn="1">
          <p15:clr>
            <a:srgbClr val="FBAE40"/>
          </p15:clr>
        </p15:guide>
        <p15:guide id="10" orient="horz" pos="768" userDrawn="1">
          <p15:clr>
            <a:srgbClr val="FBAE40"/>
          </p15:clr>
        </p15:guide>
        <p15:guide id="11" orient="horz" pos="1008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ondary Divider Photo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C4DE330-0E0A-6D4B-B75E-54639A746306}"/>
              </a:ext>
            </a:extLst>
          </p:cNvPr>
          <p:cNvCxnSpPr>
            <a:cxnSpLocks/>
          </p:cNvCxnSpPr>
          <p:nvPr userDrawn="1"/>
        </p:nvCxnSpPr>
        <p:spPr>
          <a:xfrm>
            <a:off x="0" y="3656330"/>
            <a:ext cx="4173855" cy="0"/>
          </a:xfrm>
          <a:prstGeom prst="line">
            <a:avLst/>
          </a:prstGeom>
          <a:ln w="1016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37">
            <a:extLst>
              <a:ext uri="{FF2B5EF4-FFF2-40B4-BE49-F238E27FC236}">
                <a16:creationId xmlns:a16="http://schemas.microsoft.com/office/drawing/2014/main" id="{21BAC790-613F-D74E-B917-79BCD2C2A3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79592" y="3968802"/>
            <a:ext cx="4173855" cy="16129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ubheadlin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copy.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Text Placeholder 29">
            <a:extLst>
              <a:ext uri="{FF2B5EF4-FFF2-40B4-BE49-F238E27FC236}">
                <a16:creationId xmlns:a16="http://schemas.microsoft.com/office/drawing/2014/main" id="{18BE65ED-2C42-6C45-87F0-5DB87CD9CA6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79592" y="2844389"/>
            <a:ext cx="4173855" cy="58461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0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pic>
        <p:nvPicPr>
          <p:cNvPr id="16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034C2E59-271D-6C4A-8038-E9E044A69E4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688803" y="6461276"/>
            <a:ext cx="927253" cy="163382"/>
          </a:xfrm>
          <a:prstGeom prst="rect">
            <a:avLst/>
          </a:prstGeom>
        </p:spPr>
      </p:pic>
      <p:sp>
        <p:nvSpPr>
          <p:cNvPr id="7" name="Picture Placeholder 12">
            <a:extLst>
              <a:ext uri="{FF2B5EF4-FFF2-40B4-BE49-F238E27FC236}">
                <a16:creationId xmlns:a16="http://schemas.microsoft.com/office/drawing/2014/main" id="{380FA0B4-F59B-B04C-A69B-D46E237F670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5999" cy="6858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6976636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150">
          <p15:clr>
            <a:srgbClr val="FBAE40"/>
          </p15:clr>
        </p15:guide>
        <p15:guide id="5" orient="horz" pos="4056" userDrawn="1">
          <p15:clr>
            <a:srgbClr val="FBAE40"/>
          </p15:clr>
        </p15:guide>
        <p15:guide id="6" orient="horz" pos="360">
          <p15:clr>
            <a:srgbClr val="FBAE40"/>
          </p15:clr>
        </p15:guide>
        <p15:guide id="7" pos="432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ondary Divider Photo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s 5">
            <a:extLst>
              <a:ext uri="{FF2B5EF4-FFF2-40B4-BE49-F238E27FC236}">
                <a16:creationId xmlns:a16="http://schemas.microsoft.com/office/drawing/2014/main" id="{601A91B5-142C-EF44-8BD1-D428B4550377}"/>
              </a:ext>
            </a:extLst>
          </p:cNvPr>
          <p:cNvSpPr/>
          <p:nvPr userDrawn="1"/>
        </p:nvSpPr>
        <p:spPr>
          <a:xfrm>
            <a:off x="9220198" y="0"/>
            <a:ext cx="2971801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E0CC39BC-F710-1546-ACFA-0E43B5E79B4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4152899" cy="6858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2902C96D-28C4-5649-923F-CA153F97101D}"/>
              </a:ext>
            </a:extLst>
          </p:cNvPr>
          <p:cNvCxnSpPr>
            <a:cxnSpLocks/>
          </p:cNvCxnSpPr>
          <p:nvPr userDrawn="1"/>
        </p:nvCxnSpPr>
        <p:spPr>
          <a:xfrm>
            <a:off x="0" y="3656330"/>
            <a:ext cx="4173855" cy="0"/>
          </a:xfrm>
          <a:prstGeom prst="line">
            <a:avLst/>
          </a:prstGeom>
          <a:ln w="1016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37">
            <a:extLst>
              <a:ext uri="{FF2B5EF4-FFF2-40B4-BE49-F238E27FC236}">
                <a16:creationId xmlns:a16="http://schemas.microsoft.com/office/drawing/2014/main" id="{F339DFA3-546C-AF44-B0A5-033B53F4548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79592" y="3968802"/>
            <a:ext cx="4173855" cy="16129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ubheadlin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copy.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Text Placeholder 29">
            <a:extLst>
              <a:ext uri="{FF2B5EF4-FFF2-40B4-BE49-F238E27FC236}">
                <a16:creationId xmlns:a16="http://schemas.microsoft.com/office/drawing/2014/main" id="{47D5C518-FEA8-E448-83F0-4001C6F4386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79592" y="2844389"/>
            <a:ext cx="4173855" cy="58461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0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pic>
        <p:nvPicPr>
          <p:cNvPr id="15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13A3D60B-2009-AB4A-A28D-15D56C60062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688803" y="6461276"/>
            <a:ext cx="927253" cy="163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68103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3962">
          <p15:clr>
            <a:srgbClr val="FBAE40"/>
          </p15:clr>
        </p15:guide>
        <p15:guide id="5" pos="7150">
          <p15:clr>
            <a:srgbClr val="FBAE40"/>
          </p15:clr>
        </p15:guide>
        <p15:guide id="6" orient="horz" pos="360">
          <p15:clr>
            <a:srgbClr val="FBAE40"/>
          </p15:clr>
        </p15:guide>
        <p15:guide id="7" pos="43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s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2">
            <a:extLst>
              <a:ext uri="{FF2B5EF4-FFF2-40B4-BE49-F238E27FC236}">
                <a16:creationId xmlns:a16="http://schemas.microsoft.com/office/drawing/2014/main" id="{1A192258-455F-3442-A2E0-56A7FB75F1E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51337" y="1043771"/>
            <a:ext cx="4152899" cy="275037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0" name="Picture Placeholder 12">
            <a:extLst>
              <a:ext uri="{FF2B5EF4-FFF2-40B4-BE49-F238E27FC236}">
                <a16:creationId xmlns:a16="http://schemas.microsoft.com/office/drawing/2014/main" id="{D4DD9269-3785-8647-8BB3-BF10B9C7173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72960" y="1043771"/>
            <a:ext cx="4152899" cy="275037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AEBAB1D1-DB03-5E4F-846D-6E5F43AD3CE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1339" y="3998913"/>
            <a:ext cx="884764" cy="7905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 b="1" i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2E8A32A5-CE5B-DB42-A821-CBE26ED3509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736103" y="3998913"/>
            <a:ext cx="2383369" cy="7905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8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31" name="Text Placeholder 29">
            <a:extLst>
              <a:ext uri="{FF2B5EF4-FFF2-40B4-BE49-F238E27FC236}">
                <a16:creationId xmlns:a16="http://schemas.microsoft.com/office/drawing/2014/main" id="{3595A6BF-6FE4-6C47-8010-4682EA0AE98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51337" y="4806729"/>
            <a:ext cx="3268133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Body copy.</a:t>
            </a:r>
          </a:p>
        </p:txBody>
      </p:sp>
      <p:sp>
        <p:nvSpPr>
          <p:cNvPr id="43" name="Text Placeholder 27">
            <a:extLst>
              <a:ext uri="{FF2B5EF4-FFF2-40B4-BE49-F238E27FC236}">
                <a16:creationId xmlns:a16="http://schemas.microsoft.com/office/drawing/2014/main" id="{DC6997D2-7105-6544-8956-69445968009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172962" y="3998913"/>
            <a:ext cx="884763" cy="7905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44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44" name="Text Placeholder 29">
            <a:extLst>
              <a:ext uri="{FF2B5EF4-FFF2-40B4-BE49-F238E27FC236}">
                <a16:creationId xmlns:a16="http://schemas.microsoft.com/office/drawing/2014/main" id="{90EC7415-7456-DA4E-8456-22DF07BF7CF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057725" y="3998913"/>
            <a:ext cx="2383370" cy="7905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+mj-lt"/>
              <a:buNone/>
              <a:defRPr sz="18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45" name="Text Placeholder 29">
            <a:extLst>
              <a:ext uri="{FF2B5EF4-FFF2-40B4-BE49-F238E27FC236}">
                <a16:creationId xmlns:a16="http://schemas.microsoft.com/office/drawing/2014/main" id="{1C1B3211-34C3-EE4E-8E4E-1F0BE38B925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172960" y="4806729"/>
            <a:ext cx="3268133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Font typeface="+mj-lt"/>
              <a:buNone/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Body copy.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8FFB61E-300E-B84F-8EB9-38EC37E9BACB}"/>
              </a:ext>
            </a:extLst>
          </p:cNvPr>
          <p:cNvCxnSpPr>
            <a:cxnSpLocks/>
          </p:cNvCxnSpPr>
          <p:nvPr userDrawn="1"/>
        </p:nvCxnSpPr>
        <p:spPr>
          <a:xfrm>
            <a:off x="1736103" y="3857544"/>
            <a:ext cx="3288681" cy="0"/>
          </a:xfrm>
          <a:prstGeom prst="line">
            <a:avLst/>
          </a:prstGeom>
          <a:ln w="1016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D63A024D-8337-E54E-A41F-3CEC4536A598}"/>
              </a:ext>
            </a:extLst>
          </p:cNvPr>
          <p:cNvCxnSpPr>
            <a:cxnSpLocks/>
          </p:cNvCxnSpPr>
          <p:nvPr userDrawn="1"/>
        </p:nvCxnSpPr>
        <p:spPr>
          <a:xfrm>
            <a:off x="8057725" y="3857544"/>
            <a:ext cx="3288681" cy="0"/>
          </a:xfrm>
          <a:prstGeom prst="line">
            <a:avLst/>
          </a:prstGeom>
          <a:ln w="1016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8EA5C906-4509-0A46-BBDD-F8D5E2B74CD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688803" y="6461276"/>
            <a:ext cx="927253" cy="163382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E25CF7F-8F4C-47ED-91DC-892D7938720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Keysight Elastic Network Generator</a:t>
            </a:r>
          </a:p>
        </p:txBody>
      </p:sp>
    </p:spTree>
    <p:extLst>
      <p:ext uri="{BB962C8B-B14F-4D97-AF65-F5344CB8AC3E}">
        <p14:creationId xmlns:p14="http://schemas.microsoft.com/office/powerpoint/2010/main" val="22981985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56" userDrawn="1">
          <p15:clr>
            <a:srgbClr val="FBAE40"/>
          </p15:clr>
        </p15:guide>
        <p15:guide id="2" pos="3840">
          <p15:clr>
            <a:srgbClr val="FBAE40"/>
          </p15:clr>
        </p15:guide>
        <p15:guide id="3" pos="528">
          <p15:clr>
            <a:srgbClr val="FBAE40"/>
          </p15:clr>
        </p15:guide>
        <p15:guide id="4" pos="7150">
          <p15:clr>
            <a:srgbClr val="FBAE40"/>
          </p15:clr>
        </p15:guide>
        <p15:guide id="5" orient="horz" pos="360">
          <p15:clr>
            <a:srgbClr val="FBAE40"/>
          </p15:clr>
        </p15:guide>
        <p15:guide id="6" orient="horz" pos="216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s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2">
            <a:extLst>
              <a:ext uri="{FF2B5EF4-FFF2-40B4-BE49-F238E27FC236}">
                <a16:creationId xmlns:a16="http://schemas.microsoft.com/office/drawing/2014/main" id="{4963B398-1F3D-6646-9EF6-5A2634A258F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51337" y="1043771"/>
            <a:ext cx="4152899" cy="275037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8" name="Picture Placeholder 12">
            <a:extLst>
              <a:ext uri="{FF2B5EF4-FFF2-40B4-BE49-F238E27FC236}">
                <a16:creationId xmlns:a16="http://schemas.microsoft.com/office/drawing/2014/main" id="{ED4BC287-0D66-1741-B482-8911F1CD18D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72960" y="1043771"/>
            <a:ext cx="4152899" cy="275037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1" name="Text Placeholder 27">
            <a:extLst>
              <a:ext uri="{FF2B5EF4-FFF2-40B4-BE49-F238E27FC236}">
                <a16:creationId xmlns:a16="http://schemas.microsoft.com/office/drawing/2014/main" id="{2748ACEA-E718-584B-A9E8-911650B0D75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1339" y="3998913"/>
            <a:ext cx="884764" cy="790575"/>
          </a:xfrm>
          <a:prstGeom prst="rect">
            <a:avLst/>
          </a:prstGeom>
          <a:ln>
            <a:noFill/>
          </a:ln>
        </p:spPr>
        <p:txBody>
          <a:bodyPr lIns="0" tIns="0" rIns="0" bIns="0">
            <a:noAutofit/>
          </a:bodyPr>
          <a:lstStyle>
            <a:lvl1pPr marL="0" indent="0">
              <a:buNone/>
              <a:defRPr sz="4400" b="1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2" name="Text Placeholder 29">
            <a:extLst>
              <a:ext uri="{FF2B5EF4-FFF2-40B4-BE49-F238E27FC236}">
                <a16:creationId xmlns:a16="http://schemas.microsoft.com/office/drawing/2014/main" id="{B7C378FC-0A3B-0F45-8C62-96462992AF1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736103" y="3998913"/>
            <a:ext cx="2383369" cy="7905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8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23" name="Text Placeholder 29">
            <a:extLst>
              <a:ext uri="{FF2B5EF4-FFF2-40B4-BE49-F238E27FC236}">
                <a16:creationId xmlns:a16="http://schemas.microsoft.com/office/drawing/2014/main" id="{F2D1E1FC-2B70-8245-9426-F6E0989630C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51337" y="4806729"/>
            <a:ext cx="3268133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16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Body copy.</a:t>
            </a:r>
          </a:p>
        </p:txBody>
      </p:sp>
      <p:sp>
        <p:nvSpPr>
          <p:cNvPr id="24" name="Text Placeholder 27">
            <a:extLst>
              <a:ext uri="{FF2B5EF4-FFF2-40B4-BE49-F238E27FC236}">
                <a16:creationId xmlns:a16="http://schemas.microsoft.com/office/drawing/2014/main" id="{AF0FC5CD-AE50-784E-AC39-4A76B06AC69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172962" y="3998913"/>
            <a:ext cx="884763" cy="790575"/>
          </a:xfrm>
          <a:prstGeom prst="rect">
            <a:avLst/>
          </a:prstGeom>
          <a:ln>
            <a:noFill/>
          </a:ln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4400" b="1" i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5" name="Text Placeholder 29">
            <a:extLst>
              <a:ext uri="{FF2B5EF4-FFF2-40B4-BE49-F238E27FC236}">
                <a16:creationId xmlns:a16="http://schemas.microsoft.com/office/drawing/2014/main" id="{5FD058C2-D00F-AB4D-898B-E80668418AF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057725" y="3998913"/>
            <a:ext cx="2383370" cy="7905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+mj-lt"/>
              <a:buNone/>
              <a:defRPr sz="18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26" name="Text Placeholder 29">
            <a:extLst>
              <a:ext uri="{FF2B5EF4-FFF2-40B4-BE49-F238E27FC236}">
                <a16:creationId xmlns:a16="http://schemas.microsoft.com/office/drawing/2014/main" id="{93F0B492-ED26-6940-9CB9-CA9E5B7D22B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172960" y="4806729"/>
            <a:ext cx="3268133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Font typeface="+mj-lt"/>
              <a:buNone/>
              <a:defRPr sz="16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Body copy.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B3E5EA53-C873-9840-96D6-D6EA7E5159BA}"/>
              </a:ext>
            </a:extLst>
          </p:cNvPr>
          <p:cNvCxnSpPr>
            <a:cxnSpLocks/>
          </p:cNvCxnSpPr>
          <p:nvPr userDrawn="1"/>
        </p:nvCxnSpPr>
        <p:spPr>
          <a:xfrm>
            <a:off x="1736103" y="3857544"/>
            <a:ext cx="3288681" cy="0"/>
          </a:xfrm>
          <a:prstGeom prst="line">
            <a:avLst/>
          </a:prstGeom>
          <a:ln w="1016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FFD0C05-0F77-7748-8EC8-2998ED8D6AFD}"/>
              </a:ext>
            </a:extLst>
          </p:cNvPr>
          <p:cNvCxnSpPr>
            <a:cxnSpLocks/>
          </p:cNvCxnSpPr>
          <p:nvPr userDrawn="1"/>
        </p:nvCxnSpPr>
        <p:spPr>
          <a:xfrm>
            <a:off x="8057725" y="3857544"/>
            <a:ext cx="3288681" cy="0"/>
          </a:xfrm>
          <a:prstGeom prst="line">
            <a:avLst/>
          </a:prstGeom>
          <a:ln w="1016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0BED0078-A0E8-9D4D-A1D0-33DD203D4CE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688803" y="6461276"/>
            <a:ext cx="927253" cy="163382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7438A47-C857-4CCB-9C98-F8F1D5AFDDD7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Keysight Elastic Network Generator</a:t>
            </a:r>
          </a:p>
        </p:txBody>
      </p:sp>
    </p:spTree>
    <p:extLst>
      <p:ext uri="{BB962C8B-B14F-4D97-AF65-F5344CB8AC3E}">
        <p14:creationId xmlns:p14="http://schemas.microsoft.com/office/powerpoint/2010/main" val="24909744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28">
          <p15:clr>
            <a:srgbClr val="FBAE40"/>
          </p15:clr>
        </p15:guide>
        <p15:guide id="4" pos="7152">
          <p15:clr>
            <a:srgbClr val="FBAE40"/>
          </p15:clr>
        </p15:guide>
        <p15:guide id="5" orient="horz" pos="3960">
          <p15:clr>
            <a:srgbClr val="FBAE40"/>
          </p15:clr>
        </p15:guide>
        <p15:guide id="6" orient="horz" pos="36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0FA40DE4-703E-4F4F-98DD-42FE209AB494}"/>
              </a:ext>
            </a:extLst>
          </p:cNvPr>
          <p:cNvCxnSpPr>
            <a:cxnSpLocks/>
          </p:cNvCxnSpPr>
          <p:nvPr userDrawn="1"/>
        </p:nvCxnSpPr>
        <p:spPr>
          <a:xfrm>
            <a:off x="1616856" y="3484692"/>
            <a:ext cx="1539256" cy="0"/>
          </a:xfrm>
          <a:prstGeom prst="line">
            <a:avLst/>
          </a:prstGeom>
          <a:ln w="1016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 Placeholder 27">
            <a:extLst>
              <a:ext uri="{FF2B5EF4-FFF2-40B4-BE49-F238E27FC236}">
                <a16:creationId xmlns:a16="http://schemas.microsoft.com/office/drawing/2014/main" id="{10579543-1896-3545-BC93-A0E91961205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1586" y="3699630"/>
            <a:ext cx="755658" cy="7905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000" b="1" i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2" name="Text Placeholder 29">
            <a:extLst>
              <a:ext uri="{FF2B5EF4-FFF2-40B4-BE49-F238E27FC236}">
                <a16:creationId xmlns:a16="http://schemas.microsoft.com/office/drawing/2014/main" id="{5671AF40-514E-A94F-8F0F-2C85B060AA8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645176" y="3708861"/>
            <a:ext cx="1511324" cy="7905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6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33" name="Text Placeholder 27">
            <a:extLst>
              <a:ext uri="{FF2B5EF4-FFF2-40B4-BE49-F238E27FC236}">
                <a16:creationId xmlns:a16="http://schemas.microsoft.com/office/drawing/2014/main" id="{4F114B79-41DE-A24A-A0DA-AF1FDE591E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93754" y="3699630"/>
            <a:ext cx="755658" cy="7905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0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4" name="Text Placeholder 29">
            <a:extLst>
              <a:ext uri="{FF2B5EF4-FFF2-40B4-BE49-F238E27FC236}">
                <a16:creationId xmlns:a16="http://schemas.microsoft.com/office/drawing/2014/main" id="{5E7EF4E3-A62A-6545-A186-5A19226FB2A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77344" y="3708861"/>
            <a:ext cx="1511324" cy="7905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6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35" name="Text Placeholder 29">
            <a:extLst>
              <a:ext uri="{FF2B5EF4-FFF2-40B4-BE49-F238E27FC236}">
                <a16:creationId xmlns:a16="http://schemas.microsoft.com/office/drawing/2014/main" id="{327C8B79-B746-904C-94F9-E08B43E3139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61587" y="4523164"/>
            <a:ext cx="2294914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16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Body copy.</a:t>
            </a:r>
          </a:p>
        </p:txBody>
      </p:sp>
      <p:sp>
        <p:nvSpPr>
          <p:cNvPr id="37" name="Picture Placeholder 12">
            <a:extLst>
              <a:ext uri="{FF2B5EF4-FFF2-40B4-BE49-F238E27FC236}">
                <a16:creationId xmlns:a16="http://schemas.microsoft.com/office/drawing/2014/main" id="{6F68ADA9-0181-CF4F-93EF-7AAB81E1490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59932" y="1895762"/>
            <a:ext cx="2297430" cy="153162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8" name="Picture Placeholder 12">
            <a:extLst>
              <a:ext uri="{FF2B5EF4-FFF2-40B4-BE49-F238E27FC236}">
                <a16:creationId xmlns:a16="http://schemas.microsoft.com/office/drawing/2014/main" id="{04124E09-D0FF-5548-9C10-7182800C920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593592" y="1895762"/>
            <a:ext cx="2297430" cy="153162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9" name="Picture Placeholder 12">
            <a:extLst>
              <a:ext uri="{FF2B5EF4-FFF2-40B4-BE49-F238E27FC236}">
                <a16:creationId xmlns:a16="http://schemas.microsoft.com/office/drawing/2014/main" id="{2310FA7A-10C1-8F4B-8D25-AD349C1DA28F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328378" y="1895762"/>
            <a:ext cx="2297430" cy="153162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0" name="Picture Placeholder 12">
            <a:extLst>
              <a:ext uri="{FF2B5EF4-FFF2-40B4-BE49-F238E27FC236}">
                <a16:creationId xmlns:a16="http://schemas.microsoft.com/office/drawing/2014/main" id="{7227903C-E9DC-8648-9B89-7767753D775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061704" y="1895762"/>
            <a:ext cx="2297430" cy="153162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1" name="Text Placeholder 29">
            <a:extLst>
              <a:ext uri="{FF2B5EF4-FFF2-40B4-BE49-F238E27FC236}">
                <a16:creationId xmlns:a16="http://schemas.microsoft.com/office/drawing/2014/main" id="{E6E551DF-0227-1D48-A2CB-416657D7FD1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593754" y="4523164"/>
            <a:ext cx="2294914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16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Body copy.</a:t>
            </a:r>
          </a:p>
        </p:txBody>
      </p:sp>
      <p:sp>
        <p:nvSpPr>
          <p:cNvPr id="42" name="Text Placeholder 27">
            <a:extLst>
              <a:ext uri="{FF2B5EF4-FFF2-40B4-BE49-F238E27FC236}">
                <a16:creationId xmlns:a16="http://schemas.microsoft.com/office/drawing/2014/main" id="{B32EBF37-4C9F-1F42-B329-48FD79E5811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28622" y="3699630"/>
            <a:ext cx="755658" cy="7905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000" b="1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43" name="Text Placeholder 29">
            <a:extLst>
              <a:ext uri="{FF2B5EF4-FFF2-40B4-BE49-F238E27FC236}">
                <a16:creationId xmlns:a16="http://schemas.microsoft.com/office/drawing/2014/main" id="{4AA76273-DF93-6C45-A606-02F9E9FDBF3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112212" y="3708861"/>
            <a:ext cx="1511324" cy="7905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6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44" name="Text Placeholder 29">
            <a:extLst>
              <a:ext uri="{FF2B5EF4-FFF2-40B4-BE49-F238E27FC236}">
                <a16:creationId xmlns:a16="http://schemas.microsoft.com/office/drawing/2014/main" id="{B4F71B2B-2F62-3B49-9D2C-97BD48D27AC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28622" y="4523164"/>
            <a:ext cx="2294914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16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Body copy.</a:t>
            </a:r>
          </a:p>
        </p:txBody>
      </p:sp>
      <p:sp>
        <p:nvSpPr>
          <p:cNvPr id="45" name="Text Placeholder 27">
            <a:extLst>
              <a:ext uri="{FF2B5EF4-FFF2-40B4-BE49-F238E27FC236}">
                <a16:creationId xmlns:a16="http://schemas.microsoft.com/office/drawing/2014/main" id="{067DB857-E8DE-4248-AAB2-DF980E0806D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061704" y="3699630"/>
            <a:ext cx="755658" cy="7905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000" b="1" i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46" name="Text Placeholder 29">
            <a:extLst>
              <a:ext uri="{FF2B5EF4-FFF2-40B4-BE49-F238E27FC236}">
                <a16:creationId xmlns:a16="http://schemas.microsoft.com/office/drawing/2014/main" id="{971ABEB2-B5BB-594D-AEEA-9A457671257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848088" y="3708861"/>
            <a:ext cx="1511324" cy="7905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6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47" name="Text Placeholder 29">
            <a:extLst>
              <a:ext uri="{FF2B5EF4-FFF2-40B4-BE49-F238E27FC236}">
                <a16:creationId xmlns:a16="http://schemas.microsoft.com/office/drawing/2014/main" id="{14652348-5B9D-E044-9449-F4D9A5A12A8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061704" y="4523164"/>
            <a:ext cx="2294914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16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Body copy.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10B8D21C-8B78-C545-8C47-E4B83CA5CDAB}"/>
              </a:ext>
            </a:extLst>
          </p:cNvPr>
          <p:cNvCxnSpPr>
            <a:cxnSpLocks/>
          </p:cNvCxnSpPr>
          <p:nvPr userDrawn="1"/>
        </p:nvCxnSpPr>
        <p:spPr>
          <a:xfrm>
            <a:off x="4349412" y="3484692"/>
            <a:ext cx="1539256" cy="0"/>
          </a:xfrm>
          <a:prstGeom prst="line">
            <a:avLst/>
          </a:prstGeom>
          <a:ln w="1016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A8F55081-EA49-D347-B388-CCAEC641A341}"/>
              </a:ext>
            </a:extLst>
          </p:cNvPr>
          <p:cNvCxnSpPr>
            <a:cxnSpLocks/>
          </p:cNvCxnSpPr>
          <p:nvPr userDrawn="1"/>
        </p:nvCxnSpPr>
        <p:spPr>
          <a:xfrm>
            <a:off x="7086600" y="3484692"/>
            <a:ext cx="1539256" cy="0"/>
          </a:xfrm>
          <a:prstGeom prst="line">
            <a:avLst/>
          </a:prstGeom>
          <a:ln w="1016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91FA2A22-1173-2E4C-90F7-69DE1319B71A}"/>
              </a:ext>
            </a:extLst>
          </p:cNvPr>
          <p:cNvCxnSpPr>
            <a:cxnSpLocks/>
          </p:cNvCxnSpPr>
          <p:nvPr userDrawn="1"/>
        </p:nvCxnSpPr>
        <p:spPr>
          <a:xfrm>
            <a:off x="9820904" y="3484692"/>
            <a:ext cx="1539256" cy="0"/>
          </a:xfrm>
          <a:prstGeom prst="line">
            <a:avLst/>
          </a:prstGeom>
          <a:ln w="1016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itle Placeholder 3">
            <a:extLst>
              <a:ext uri="{FF2B5EF4-FFF2-40B4-BE49-F238E27FC236}">
                <a16:creationId xmlns:a16="http://schemas.microsoft.com/office/drawing/2014/main" id="{E6B93876-AC51-CC4B-8A92-A5B6BA0934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548640"/>
            <a:ext cx="1051560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4" name="Text Placeholder 28">
            <a:extLst>
              <a:ext uri="{FF2B5EF4-FFF2-40B4-BE49-F238E27FC236}">
                <a16:creationId xmlns:a16="http://schemas.microsoft.com/office/drawing/2014/main" id="{2629CB18-0915-D24F-80DC-9D7FED1BBD5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85800" y="941832"/>
            <a:ext cx="10515600" cy="39567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50000"/>
              </a:lnSpc>
              <a:buNone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b="1" i="0" err="1">
                <a:latin typeface="Arial" panose="020B0604020202020204" pitchFamily="34" charset="0"/>
                <a:cs typeface="Arial" panose="020B0604020202020204" pitchFamily="34" charset="0"/>
              </a:rPr>
              <a:t>Subheadline</a:t>
            </a:r>
            <a:endParaRPr lang="en-US"/>
          </a:p>
        </p:txBody>
      </p:sp>
      <p:pic>
        <p:nvPicPr>
          <p:cNvPr id="52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BF8BA014-8222-2D45-9531-12AAF34FEC2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688803" y="6461276"/>
            <a:ext cx="927253" cy="163382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500198B-30D1-4485-B1A0-C45FD64EB046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r>
              <a:rPr lang="en-US"/>
              <a:t>Keysight Elastic Network Generator</a:t>
            </a:r>
          </a:p>
        </p:txBody>
      </p:sp>
    </p:spTree>
    <p:extLst>
      <p:ext uri="{BB962C8B-B14F-4D97-AF65-F5344CB8AC3E}">
        <p14:creationId xmlns:p14="http://schemas.microsoft.com/office/powerpoint/2010/main" val="37770882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4" pos="7152">
          <p15:clr>
            <a:srgbClr val="FBAE40"/>
          </p15:clr>
        </p15:guide>
        <p15:guide id="5" orient="horz" pos="3960">
          <p15:clr>
            <a:srgbClr val="FBAE40"/>
          </p15:clr>
        </p15:guide>
        <p15:guide id="6" orient="horz" pos="360">
          <p15:clr>
            <a:srgbClr val="FBAE40"/>
          </p15:clr>
        </p15:guide>
        <p15:guide id="7" pos="432" userDrawn="1">
          <p15:clr>
            <a:srgbClr val="FBAE40"/>
          </p15:clr>
        </p15:guide>
        <p15:guide id="8" orient="horz" pos="76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up Option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9">
            <a:extLst>
              <a:ext uri="{FF2B5EF4-FFF2-40B4-BE49-F238E27FC236}">
                <a16:creationId xmlns:a16="http://schemas.microsoft.com/office/drawing/2014/main" id="{5671AF40-514E-A94F-8F0F-2C85B060AA8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58544" y="3708861"/>
            <a:ext cx="2297430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34" name="Text Placeholder 29">
            <a:extLst>
              <a:ext uri="{FF2B5EF4-FFF2-40B4-BE49-F238E27FC236}">
                <a16:creationId xmlns:a16="http://schemas.microsoft.com/office/drawing/2014/main" id="{5E7EF4E3-A62A-6545-A186-5A19226FB2A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93592" y="3708861"/>
            <a:ext cx="2297430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35" name="Text Placeholder 29">
            <a:extLst>
              <a:ext uri="{FF2B5EF4-FFF2-40B4-BE49-F238E27FC236}">
                <a16:creationId xmlns:a16="http://schemas.microsoft.com/office/drawing/2014/main" id="{327C8B79-B746-904C-94F9-E08B43E3139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61061" y="4523164"/>
            <a:ext cx="2294914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Body copy.</a:t>
            </a:r>
          </a:p>
        </p:txBody>
      </p:sp>
      <p:sp>
        <p:nvSpPr>
          <p:cNvPr id="37" name="Picture Placeholder 12">
            <a:extLst>
              <a:ext uri="{FF2B5EF4-FFF2-40B4-BE49-F238E27FC236}">
                <a16:creationId xmlns:a16="http://schemas.microsoft.com/office/drawing/2014/main" id="{6F68ADA9-0181-CF4F-93EF-7AAB81E1490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59406" y="1895762"/>
            <a:ext cx="2297430" cy="153162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8" name="Picture Placeholder 12">
            <a:extLst>
              <a:ext uri="{FF2B5EF4-FFF2-40B4-BE49-F238E27FC236}">
                <a16:creationId xmlns:a16="http://schemas.microsoft.com/office/drawing/2014/main" id="{04124E09-D0FF-5548-9C10-7182800C920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593592" y="1895762"/>
            <a:ext cx="2297430" cy="153162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9" name="Picture Placeholder 12">
            <a:extLst>
              <a:ext uri="{FF2B5EF4-FFF2-40B4-BE49-F238E27FC236}">
                <a16:creationId xmlns:a16="http://schemas.microsoft.com/office/drawing/2014/main" id="{2310FA7A-10C1-8F4B-8D25-AD349C1DA28F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328554" y="1895762"/>
            <a:ext cx="2297430" cy="153162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0" name="Picture Placeholder 12">
            <a:extLst>
              <a:ext uri="{FF2B5EF4-FFF2-40B4-BE49-F238E27FC236}">
                <a16:creationId xmlns:a16="http://schemas.microsoft.com/office/drawing/2014/main" id="{7227903C-E9DC-8648-9B89-7767753D775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063128" y="1895762"/>
            <a:ext cx="2297430" cy="153162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1" name="Text Placeholder 29">
            <a:extLst>
              <a:ext uri="{FF2B5EF4-FFF2-40B4-BE49-F238E27FC236}">
                <a16:creationId xmlns:a16="http://schemas.microsoft.com/office/drawing/2014/main" id="{E6E551DF-0227-1D48-A2CB-416657D7FD1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596496" y="4523164"/>
            <a:ext cx="2297430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Body copy.</a:t>
            </a:r>
          </a:p>
        </p:txBody>
      </p:sp>
      <p:sp>
        <p:nvSpPr>
          <p:cNvPr id="43" name="Text Placeholder 29">
            <a:extLst>
              <a:ext uri="{FF2B5EF4-FFF2-40B4-BE49-F238E27FC236}">
                <a16:creationId xmlns:a16="http://schemas.microsoft.com/office/drawing/2014/main" id="{4AA76273-DF93-6C45-A606-02F9E9FDBF3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27296" y="3708861"/>
            <a:ext cx="2297430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44" name="Text Placeholder 29">
            <a:extLst>
              <a:ext uri="{FF2B5EF4-FFF2-40B4-BE49-F238E27FC236}">
                <a16:creationId xmlns:a16="http://schemas.microsoft.com/office/drawing/2014/main" id="{B4F71B2B-2F62-3B49-9D2C-97BD48D27AC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29812" y="4523164"/>
            <a:ext cx="2294914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Body copy.</a:t>
            </a:r>
          </a:p>
        </p:txBody>
      </p:sp>
      <p:sp>
        <p:nvSpPr>
          <p:cNvPr id="46" name="Text Placeholder 29">
            <a:extLst>
              <a:ext uri="{FF2B5EF4-FFF2-40B4-BE49-F238E27FC236}">
                <a16:creationId xmlns:a16="http://schemas.microsoft.com/office/drawing/2014/main" id="{971ABEB2-B5BB-594D-AEEA-9A457671257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063128" y="3708861"/>
            <a:ext cx="2297430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47" name="Text Placeholder 29">
            <a:extLst>
              <a:ext uri="{FF2B5EF4-FFF2-40B4-BE49-F238E27FC236}">
                <a16:creationId xmlns:a16="http://schemas.microsoft.com/office/drawing/2014/main" id="{14652348-5B9D-E044-9449-F4D9A5A12A8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065644" y="4523164"/>
            <a:ext cx="2294914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Body copy.</a:t>
            </a:r>
          </a:p>
        </p:txBody>
      </p:sp>
      <p:sp>
        <p:nvSpPr>
          <p:cNvPr id="25" name="Title Placeholder 3">
            <a:extLst>
              <a:ext uri="{FF2B5EF4-FFF2-40B4-BE49-F238E27FC236}">
                <a16:creationId xmlns:a16="http://schemas.microsoft.com/office/drawing/2014/main" id="{5BC2F003-516B-7640-BDBB-14889F2597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548640"/>
            <a:ext cx="1051560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6" name="Text Placeholder 28">
            <a:extLst>
              <a:ext uri="{FF2B5EF4-FFF2-40B4-BE49-F238E27FC236}">
                <a16:creationId xmlns:a16="http://schemas.microsoft.com/office/drawing/2014/main" id="{3F0A3ECE-EEA6-134F-9307-A99EC97D4E9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85800" y="941832"/>
            <a:ext cx="10515600" cy="39567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50000"/>
              </a:lnSpc>
              <a:buNone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b="1" i="0" err="1">
                <a:latin typeface="Arial" panose="020B0604020202020204" pitchFamily="34" charset="0"/>
                <a:cs typeface="Arial" panose="020B0604020202020204" pitchFamily="34" charset="0"/>
              </a:rPr>
              <a:t>Subheadline</a:t>
            </a:r>
            <a:endParaRPr lang="en-US"/>
          </a:p>
        </p:txBody>
      </p:sp>
      <p:pic>
        <p:nvPicPr>
          <p:cNvPr id="24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FFFE562E-0FE6-4649-8B21-DE77FD7C2B3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688803" y="6461276"/>
            <a:ext cx="927253" cy="163382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9CC6428-F643-4150-BB71-7C1633200FA0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r>
              <a:rPr lang="en-US"/>
              <a:t>Keysight Elastic Network Generator</a:t>
            </a:r>
          </a:p>
        </p:txBody>
      </p:sp>
    </p:spTree>
    <p:extLst>
      <p:ext uri="{BB962C8B-B14F-4D97-AF65-F5344CB8AC3E}">
        <p14:creationId xmlns:p14="http://schemas.microsoft.com/office/powerpoint/2010/main" val="39093701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4" pos="7152">
          <p15:clr>
            <a:srgbClr val="FBAE40"/>
          </p15:clr>
        </p15:guide>
        <p15:guide id="5" orient="horz" pos="3960">
          <p15:clr>
            <a:srgbClr val="FBAE40"/>
          </p15:clr>
        </p15:guide>
        <p15:guide id="6" orient="horz" pos="360">
          <p15:clr>
            <a:srgbClr val="FBAE40"/>
          </p15:clr>
        </p15:guide>
        <p15:guide id="7" pos="432" userDrawn="1">
          <p15:clr>
            <a:srgbClr val="FBAE40"/>
          </p15:clr>
        </p15:guide>
        <p15:guide id="8" orient="horz" pos="76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1191548F-C037-D647-ACC2-6080DD57913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688803" y="6461276"/>
            <a:ext cx="927253" cy="163382"/>
          </a:xfrm>
          <a:prstGeom prst="rect">
            <a:avLst/>
          </a:prstGeom>
        </p:spPr>
      </p:pic>
      <p:sp>
        <p:nvSpPr>
          <p:cNvPr id="14" name="Text Placeholder 28">
            <a:extLst>
              <a:ext uri="{FF2B5EF4-FFF2-40B4-BE49-F238E27FC236}">
                <a16:creationId xmlns:a16="http://schemas.microsoft.com/office/drawing/2014/main" id="{E4B21DCD-7B35-9343-AFE7-EA8C4A63457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85800" y="941832"/>
            <a:ext cx="10515600" cy="39567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50000"/>
              </a:lnSpc>
              <a:buNone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b="1" i="0" err="1">
                <a:latin typeface="Arial" panose="020B0604020202020204" pitchFamily="34" charset="0"/>
                <a:cs typeface="Arial" panose="020B0604020202020204" pitchFamily="34" charset="0"/>
              </a:rPr>
              <a:t>Subheadlin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9519055-631B-4A4E-9F2F-FAE6092892A5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94944" y="1956816"/>
            <a:ext cx="10640085" cy="3784600"/>
          </a:xfrm>
          <a:prstGeom prst="rect">
            <a:avLst/>
          </a:prstGeom>
        </p:spPr>
        <p:txBody>
          <a:bodyPr lIns="0"/>
          <a:lstStyle>
            <a:lvl1pPr>
              <a:buClr>
                <a:schemeClr val="tx1">
                  <a:lumMod val="85000"/>
                  <a:lumOff val="15000"/>
                </a:schemeClr>
              </a:buClr>
              <a:defRPr/>
            </a:lvl1pPr>
            <a:lvl2pPr>
              <a:buClr>
                <a:schemeClr val="tx1">
                  <a:lumMod val="85000"/>
                  <a:lumOff val="15000"/>
                </a:schemeClr>
              </a:buClr>
              <a:defRPr/>
            </a:lvl2pPr>
            <a:lvl3pPr>
              <a:buClr>
                <a:schemeClr val="tx1">
                  <a:lumMod val="85000"/>
                  <a:lumOff val="15000"/>
                </a:schemeClr>
              </a:buClr>
              <a:defRPr/>
            </a:lvl3pPr>
            <a:lvl4pPr>
              <a:buClr>
                <a:schemeClr val="tx1">
                  <a:lumMod val="85000"/>
                  <a:lumOff val="15000"/>
                </a:schemeClr>
              </a:buClr>
              <a:defRPr/>
            </a:lvl4pPr>
            <a:lvl5pPr>
              <a:buClr>
                <a:schemeClr val="tx1">
                  <a:lumMod val="85000"/>
                  <a:lumOff val="15000"/>
                </a:schemeClr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itle Placeholder 3">
            <a:extLst>
              <a:ext uri="{FF2B5EF4-FFF2-40B4-BE49-F238E27FC236}">
                <a16:creationId xmlns:a16="http://schemas.microsoft.com/office/drawing/2014/main" id="{11FF4F54-F7FD-DD43-9035-9F3CA29575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548640"/>
            <a:ext cx="10515600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BC8499C-46E2-4F57-8AAC-4EC283C24447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r>
              <a:rPr lang="en-US"/>
              <a:t>Keysight Elastic Network Generator</a:t>
            </a:r>
          </a:p>
        </p:txBody>
      </p:sp>
    </p:spTree>
    <p:extLst>
      <p:ext uri="{BB962C8B-B14F-4D97-AF65-F5344CB8AC3E}">
        <p14:creationId xmlns:p14="http://schemas.microsoft.com/office/powerpoint/2010/main" val="2407674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4" pos="7152">
          <p15:clr>
            <a:srgbClr val="FBAE40"/>
          </p15:clr>
        </p15:guide>
        <p15:guide id="5" orient="horz" pos="4152" userDrawn="1">
          <p15:clr>
            <a:srgbClr val="FBAE40"/>
          </p15:clr>
        </p15:guide>
        <p15:guide id="6" orient="horz" pos="528" userDrawn="1">
          <p15:clr>
            <a:srgbClr val="FBAE40"/>
          </p15:clr>
        </p15:guide>
        <p15:guide id="7" orient="horz" pos="1224" userDrawn="1">
          <p15:clr>
            <a:srgbClr val="FBAE40"/>
          </p15:clr>
        </p15:guide>
        <p15:guide id="8" orient="horz" pos="3624" userDrawn="1">
          <p15:clr>
            <a:srgbClr val="FBAE40"/>
          </p15:clr>
        </p15:guide>
        <p15:guide id="9" pos="432" userDrawn="1">
          <p15:clr>
            <a:srgbClr val="FBAE40"/>
          </p15:clr>
        </p15:guide>
        <p15:guide id="10" orient="horz" pos="768" userDrawn="1">
          <p15:clr>
            <a:srgbClr val="FBAE40"/>
          </p15:clr>
        </p15:guide>
        <p15:guide id="11" orient="horz" pos="1008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xed content red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s 5">
            <a:extLst>
              <a:ext uri="{FF2B5EF4-FFF2-40B4-BE49-F238E27FC236}">
                <a16:creationId xmlns:a16="http://schemas.microsoft.com/office/drawing/2014/main" id="{5DF715B5-7BD3-5946-BE35-8F33B0545D16}"/>
              </a:ext>
            </a:extLst>
          </p:cNvPr>
          <p:cNvSpPr/>
          <p:nvPr userDrawn="1"/>
        </p:nvSpPr>
        <p:spPr>
          <a:xfrm>
            <a:off x="7131685" y="0"/>
            <a:ext cx="50736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6" name="Picture Placeholder 14">
            <a:extLst>
              <a:ext uri="{FF2B5EF4-FFF2-40B4-BE49-F238E27FC236}">
                <a16:creationId xmlns:a16="http://schemas.microsoft.com/office/drawing/2014/main" id="{C8D2E375-F7A0-9F49-9FE9-69E2B38273B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356225" y="1484313"/>
            <a:ext cx="6835775" cy="3859212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sp>
        <p:nvSpPr>
          <p:cNvPr id="18" name="Text Placeholder 18">
            <a:extLst>
              <a:ext uri="{FF2B5EF4-FFF2-40B4-BE49-F238E27FC236}">
                <a16:creationId xmlns:a16="http://schemas.microsoft.com/office/drawing/2014/main" id="{7B8A9516-6054-6E44-A7B6-BDF01486032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53440" y="2745308"/>
            <a:ext cx="3676650" cy="136738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Placeholder 3">
            <a:extLst>
              <a:ext uri="{FF2B5EF4-FFF2-40B4-BE49-F238E27FC236}">
                <a16:creationId xmlns:a16="http://schemas.microsoft.com/office/drawing/2014/main" id="{279117BA-FC53-E24B-9719-228C408A45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548640"/>
            <a:ext cx="6309083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28">
            <a:extLst>
              <a:ext uri="{FF2B5EF4-FFF2-40B4-BE49-F238E27FC236}">
                <a16:creationId xmlns:a16="http://schemas.microsoft.com/office/drawing/2014/main" id="{50379D0C-E448-7543-B2AF-0A7079C23F2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85800" y="941832"/>
            <a:ext cx="6303903" cy="39567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50000"/>
              </a:lnSpc>
              <a:buNone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b="1" i="0" err="1">
                <a:latin typeface="Arial" panose="020B0604020202020204" pitchFamily="34" charset="0"/>
                <a:cs typeface="Arial" panose="020B0604020202020204" pitchFamily="34" charset="0"/>
              </a:rPr>
              <a:t>Subheadline</a:t>
            </a:r>
            <a:endParaRPr lang="en-US"/>
          </a:p>
        </p:txBody>
      </p:sp>
      <p:pic>
        <p:nvPicPr>
          <p:cNvPr id="14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F78110B6-A117-DC44-AEE2-D1B889FB238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688803" y="6461276"/>
            <a:ext cx="927253" cy="163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28235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4" orient="horz" pos="3960">
          <p15:clr>
            <a:srgbClr val="FBAE40"/>
          </p15:clr>
        </p15:guide>
        <p15:guide id="5" orient="horz" pos="360">
          <p15:clr>
            <a:srgbClr val="FBAE40"/>
          </p15:clr>
        </p15:guide>
        <p15:guide id="6" pos="7152">
          <p15:clr>
            <a:srgbClr val="FBAE40"/>
          </p15:clr>
        </p15:guide>
        <p15:guide id="7" pos="432" userDrawn="1">
          <p15:clr>
            <a:srgbClr val="FBAE40"/>
          </p15:clr>
        </p15:guide>
        <p15:guide id="8" orient="horz" pos="768" userDrawn="1">
          <p15:clr>
            <a:srgbClr val="FBAE40"/>
          </p15:clr>
        </p15:guide>
        <p15:guide id="9" pos="528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/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Icon&#10;&#10;Description automatically generated">
            <a:extLst>
              <a:ext uri="{FF2B5EF4-FFF2-40B4-BE49-F238E27FC236}">
                <a16:creationId xmlns:a16="http://schemas.microsoft.com/office/drawing/2014/main" id="{6A265D28-EE44-C941-BD18-475E8C098E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B4DF0A02-5504-3E4B-94E9-D3DC9628D4B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88160" y="2514282"/>
            <a:ext cx="8615680" cy="14208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32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0208E212-1EB2-6A48-BA3C-72A80BD0F1C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034631" y="4291919"/>
            <a:ext cx="4122738" cy="377825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="1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4201359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/Statement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Background pattern&#10;&#10;Description automatically generated with low confidence">
            <a:extLst>
              <a:ext uri="{FF2B5EF4-FFF2-40B4-BE49-F238E27FC236}">
                <a16:creationId xmlns:a16="http://schemas.microsoft.com/office/drawing/2014/main" id="{AF6FF7EE-0BB8-AE4D-88A3-B35DF0B4206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B4DF0A02-5504-3E4B-94E9-D3DC9628D4B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88160" y="2514282"/>
            <a:ext cx="8615680" cy="14208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32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0208E212-1EB2-6A48-BA3C-72A80BD0F1C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034631" y="4291919"/>
            <a:ext cx="4122738" cy="377825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="1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2103022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hort quot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DF651769-110D-7B41-B5B2-55375B2EF9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41807" r="38275" b="6113"/>
          <a:stretch/>
        </p:blipFill>
        <p:spPr>
          <a:xfrm>
            <a:off x="9050214" y="961780"/>
            <a:ext cx="3141785" cy="5896220"/>
          </a:xfrm>
          <a:prstGeom prst="rect">
            <a:avLst/>
          </a:prstGeom>
        </p:spPr>
      </p:pic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1D8979B-6B96-284E-83B1-1BB1267A0CC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4944" y="5243477"/>
            <a:ext cx="8412480" cy="70806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16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Name, Title, Reference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92C6F0B9-7A19-DD4B-A485-630B7B90A62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94944" y="1436687"/>
            <a:ext cx="8629651" cy="3621053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lnSpc>
                <a:spcPct val="100000"/>
              </a:lnSpc>
              <a:buNone/>
              <a:defRPr sz="40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Quote or statement</a:t>
            </a:r>
          </a:p>
        </p:txBody>
      </p:sp>
      <p:pic>
        <p:nvPicPr>
          <p:cNvPr id="6" name="Picture 9" descr="Frame">
            <a:extLst>
              <a:ext uri="{FF2B5EF4-FFF2-40B4-BE49-F238E27FC236}">
                <a16:creationId xmlns:a16="http://schemas.microsoft.com/office/drawing/2014/main" id="{1ED5DCD9-AE22-BC42-BA2A-7942143FA58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84614" y="6463159"/>
            <a:ext cx="923544" cy="1614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14019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28">
          <p15:clr>
            <a:srgbClr val="FBAE40"/>
          </p15:clr>
        </p15:guide>
        <p15:guide id="4" pos="7152">
          <p15:clr>
            <a:srgbClr val="FBAE40"/>
          </p15:clr>
        </p15:guide>
        <p15:guide id="5" orient="horz" pos="3960">
          <p15:clr>
            <a:srgbClr val="FBAE40"/>
          </p15:clr>
        </p15:guide>
        <p15:guide id="6" orient="horz" pos="36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um quote">
    <p:bg>
      <p:bgPr>
        <a:solidFill>
          <a:srgbClr val="33333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9" descr="Frame">
            <a:extLst>
              <a:ext uri="{FF2B5EF4-FFF2-40B4-BE49-F238E27FC236}">
                <a16:creationId xmlns:a16="http://schemas.microsoft.com/office/drawing/2014/main" id="{51BE2CEB-608E-E84D-AFF0-7E6FCBC70B6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84614" y="6463159"/>
            <a:ext cx="923544" cy="161410"/>
          </a:xfrm>
          <a:prstGeom prst="rect">
            <a:avLst/>
          </a:prstGeom>
        </p:spPr>
      </p:pic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1D8979B-6B96-284E-83B1-1BB1267A0CC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2464" y="5243477"/>
            <a:ext cx="8414328" cy="70806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16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Name, Title, Reference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92C6F0B9-7A19-DD4B-A485-630B7B90A62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94944" y="1435607"/>
            <a:ext cx="8629651" cy="362102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7938" indent="-7938">
              <a:lnSpc>
                <a:spcPct val="100000"/>
              </a:lnSpc>
              <a:buNone/>
              <a:tabLst/>
              <a:defRPr sz="40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Quote or statement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2BFE4491-5A72-D247-9231-A68CFE2356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41807" r="38275" b="6113"/>
          <a:stretch/>
        </p:blipFill>
        <p:spPr>
          <a:xfrm>
            <a:off x="9050214" y="961780"/>
            <a:ext cx="3141785" cy="58962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85655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56" userDrawn="1">
          <p15:clr>
            <a:srgbClr val="FBAE40"/>
          </p15:clr>
        </p15:guide>
        <p15:guide id="4" pos="7152">
          <p15:clr>
            <a:srgbClr val="FBAE40"/>
          </p15:clr>
        </p15:guide>
        <p15:guide id="5" orient="horz" pos="360">
          <p15:clr>
            <a:srgbClr val="FBAE40"/>
          </p15:clr>
        </p15:guide>
        <p15:guide id="6" orient="horz" pos="396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quo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114C1FBF-4367-4C4F-8D4C-DF394870AC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41807" r="38275" b="6113"/>
          <a:stretch/>
        </p:blipFill>
        <p:spPr>
          <a:xfrm>
            <a:off x="9050214" y="961780"/>
            <a:ext cx="3141785" cy="5896220"/>
          </a:xfrm>
          <a:prstGeom prst="rect">
            <a:avLst/>
          </a:prstGeom>
        </p:spPr>
      </p:pic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1D8979B-6B96-284E-83B1-1BB1267A0CC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4944" y="5243477"/>
            <a:ext cx="8412480" cy="70806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1600" b="1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Name, Title, Reference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92C6F0B9-7A19-DD4B-A485-630B7B90A62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94944" y="1435608"/>
            <a:ext cx="8629651" cy="362102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lnSpc>
                <a:spcPct val="100000"/>
              </a:lnSpc>
              <a:buNone/>
              <a:defRPr sz="4000" b="1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Quote or statement</a:t>
            </a:r>
          </a:p>
        </p:txBody>
      </p:sp>
      <p:pic>
        <p:nvPicPr>
          <p:cNvPr id="12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9487674E-0D9E-A949-93FC-1A1C582E412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688803" y="6461276"/>
            <a:ext cx="927253" cy="163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99460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56" userDrawn="1">
          <p15:clr>
            <a:srgbClr val="FBAE40"/>
          </p15:clr>
        </p15:guide>
        <p15:guide id="4" pos="7152">
          <p15:clr>
            <a:srgbClr val="FBAE40"/>
          </p15:clr>
        </p15:guide>
        <p15:guide id="5" orient="horz" pos="360">
          <p15:clr>
            <a:srgbClr val="FBAE40"/>
          </p15:clr>
        </p15:guide>
        <p15:guide id="6" orient="horz" pos="396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3-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C4DE330-0E0A-6D4B-B75E-54639A746306}"/>
              </a:ext>
            </a:extLst>
          </p:cNvPr>
          <p:cNvCxnSpPr>
            <a:cxnSpLocks/>
          </p:cNvCxnSpPr>
          <p:nvPr userDrawn="1"/>
        </p:nvCxnSpPr>
        <p:spPr>
          <a:xfrm>
            <a:off x="0" y="3656330"/>
            <a:ext cx="4173855" cy="0"/>
          </a:xfrm>
          <a:prstGeom prst="line">
            <a:avLst/>
          </a:prstGeom>
          <a:ln w="1016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37">
            <a:extLst>
              <a:ext uri="{FF2B5EF4-FFF2-40B4-BE49-F238E27FC236}">
                <a16:creationId xmlns:a16="http://schemas.microsoft.com/office/drawing/2014/main" id="{21BAC790-613F-D74E-B917-79BCD2C2A3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1695" y="3968802"/>
            <a:ext cx="3710353" cy="16129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ubheadlin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copy.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9" name="Text Placeholder 37">
            <a:extLst>
              <a:ext uri="{FF2B5EF4-FFF2-40B4-BE49-F238E27FC236}">
                <a16:creationId xmlns:a16="http://schemas.microsoft.com/office/drawing/2014/main" id="{6C86A6D7-A709-7E49-A991-4712050109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1772" y="5239512"/>
            <a:ext cx="3792028" cy="76136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Body copy.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0" name="Text Placeholder 37">
            <a:extLst>
              <a:ext uri="{FF2B5EF4-FFF2-40B4-BE49-F238E27FC236}">
                <a16:creationId xmlns:a16="http://schemas.microsoft.com/office/drawing/2014/main" id="{8B3C0A33-1875-D643-B323-4AEFFAC589B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61772" y="3182112"/>
            <a:ext cx="3792028" cy="76136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Body copy.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1" name="Text Placeholder 37">
            <a:extLst>
              <a:ext uri="{FF2B5EF4-FFF2-40B4-BE49-F238E27FC236}">
                <a16:creationId xmlns:a16="http://schemas.microsoft.com/office/drawing/2014/main" id="{A504656A-7F25-984F-B07B-41D133A12EF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561772" y="1123761"/>
            <a:ext cx="3792028" cy="76136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Body copy.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2" name="Text Placeholder 37">
            <a:extLst>
              <a:ext uri="{FF2B5EF4-FFF2-40B4-BE49-F238E27FC236}">
                <a16:creationId xmlns:a16="http://schemas.microsoft.com/office/drawing/2014/main" id="{43852B86-E572-3A4D-A49D-884A3B01905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561772" y="4873752"/>
            <a:ext cx="3792028" cy="28931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Body copy.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" name="Text Placeholder 37">
            <a:extLst>
              <a:ext uri="{FF2B5EF4-FFF2-40B4-BE49-F238E27FC236}">
                <a16:creationId xmlns:a16="http://schemas.microsoft.com/office/drawing/2014/main" id="{21F1E876-FBEE-3A4E-BEEA-F01AE1F2712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561772" y="2806875"/>
            <a:ext cx="3792028" cy="28931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Body copy.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4" name="Text Placeholder 37">
            <a:extLst>
              <a:ext uri="{FF2B5EF4-FFF2-40B4-BE49-F238E27FC236}">
                <a16:creationId xmlns:a16="http://schemas.microsoft.com/office/drawing/2014/main" id="{57725A09-95FC-8144-9805-7CF8E006029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561772" y="761167"/>
            <a:ext cx="3792028" cy="28931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Body copy.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6" name="Text Placeholder 29">
            <a:extLst>
              <a:ext uri="{FF2B5EF4-FFF2-40B4-BE49-F238E27FC236}">
                <a16:creationId xmlns:a16="http://schemas.microsoft.com/office/drawing/2014/main" id="{B45E881D-FF54-F741-AA7C-75FBDA3D4E8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87804" y="2982336"/>
            <a:ext cx="3710353" cy="432582"/>
          </a:xfrm>
          <a:prstGeom prst="rect">
            <a:avLst/>
          </a:prstGeom>
        </p:spPr>
        <p:txBody>
          <a:bodyPr lIns="0" tIns="0" rIns="0" bIns="0" anchor="b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38" name="Picture Placeholder 2">
            <a:extLst>
              <a:ext uri="{FF2B5EF4-FFF2-40B4-BE49-F238E27FC236}">
                <a16:creationId xmlns:a16="http://schemas.microsoft.com/office/drawing/2014/main" id="{74D4800A-BF10-2A4C-9A3B-07CE331C0DD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5072063" y="761166"/>
            <a:ext cx="2255837" cy="112395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9" name="Picture Placeholder 2">
            <a:extLst>
              <a:ext uri="{FF2B5EF4-FFF2-40B4-BE49-F238E27FC236}">
                <a16:creationId xmlns:a16="http://schemas.microsoft.com/office/drawing/2014/main" id="{9266B364-B0F6-D34D-8710-311DEF21A482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072063" y="2812265"/>
            <a:ext cx="2255837" cy="112395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0" name="Picture Placeholder 2">
            <a:extLst>
              <a:ext uri="{FF2B5EF4-FFF2-40B4-BE49-F238E27FC236}">
                <a16:creationId xmlns:a16="http://schemas.microsoft.com/office/drawing/2014/main" id="{56334D0D-AACA-F841-A2F8-503EE230E096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5072063" y="4873752"/>
            <a:ext cx="2255837" cy="112395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22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F2E1F59A-A205-324F-BCDF-C53DF10E81D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688803" y="6461276"/>
            <a:ext cx="927253" cy="163382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2399D8F-ABB3-47E6-B4CB-6ED018D21B01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en-US"/>
              <a:t>Keysight Elastic Network Generator</a:t>
            </a:r>
          </a:p>
        </p:txBody>
      </p:sp>
    </p:spTree>
    <p:extLst>
      <p:ext uri="{BB962C8B-B14F-4D97-AF65-F5344CB8AC3E}">
        <p14:creationId xmlns:p14="http://schemas.microsoft.com/office/powerpoint/2010/main" val="10252093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152">
          <p15:clr>
            <a:srgbClr val="FBAE40"/>
          </p15:clr>
        </p15:guide>
        <p15:guide id="4" pos="432" userDrawn="1">
          <p15:clr>
            <a:srgbClr val="FBAE40"/>
          </p15:clr>
        </p15:guide>
        <p15:guide id="5" orient="horz" pos="360">
          <p15:clr>
            <a:srgbClr val="FBAE40"/>
          </p15:clr>
        </p15:guide>
        <p15:guide id="6" orient="horz" pos="396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up Option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29">
            <a:extLst>
              <a:ext uri="{FF2B5EF4-FFF2-40B4-BE49-F238E27FC236}">
                <a16:creationId xmlns:a16="http://schemas.microsoft.com/office/drawing/2014/main" id="{5671AF40-514E-A94F-8F0F-2C85B060AA8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58544" y="4028661"/>
            <a:ext cx="2297430" cy="4707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34" name="Text Placeholder 29">
            <a:extLst>
              <a:ext uri="{FF2B5EF4-FFF2-40B4-BE49-F238E27FC236}">
                <a16:creationId xmlns:a16="http://schemas.microsoft.com/office/drawing/2014/main" id="{5E7EF4E3-A62A-6545-A186-5A19226FB2A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93592" y="4028661"/>
            <a:ext cx="2289948" cy="4707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35" name="Text Placeholder 29">
            <a:extLst>
              <a:ext uri="{FF2B5EF4-FFF2-40B4-BE49-F238E27FC236}">
                <a16:creationId xmlns:a16="http://schemas.microsoft.com/office/drawing/2014/main" id="{327C8B79-B746-904C-94F9-E08B43E3139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61061" y="4523164"/>
            <a:ext cx="2294914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16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Body copy.</a:t>
            </a:r>
          </a:p>
        </p:txBody>
      </p:sp>
      <p:sp>
        <p:nvSpPr>
          <p:cNvPr id="41" name="Text Placeholder 29">
            <a:extLst>
              <a:ext uri="{FF2B5EF4-FFF2-40B4-BE49-F238E27FC236}">
                <a16:creationId xmlns:a16="http://schemas.microsoft.com/office/drawing/2014/main" id="{E6E551DF-0227-1D48-A2CB-416657D7FD1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593592" y="4523164"/>
            <a:ext cx="2294914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16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Body copy.</a:t>
            </a:r>
          </a:p>
        </p:txBody>
      </p:sp>
      <p:sp>
        <p:nvSpPr>
          <p:cNvPr id="43" name="Text Placeholder 29">
            <a:extLst>
              <a:ext uri="{FF2B5EF4-FFF2-40B4-BE49-F238E27FC236}">
                <a16:creationId xmlns:a16="http://schemas.microsoft.com/office/drawing/2014/main" id="{4AA76273-DF93-6C45-A606-02F9E9FDBF3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28554" y="4028661"/>
            <a:ext cx="2297430" cy="4707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44" name="Text Placeholder 29">
            <a:extLst>
              <a:ext uri="{FF2B5EF4-FFF2-40B4-BE49-F238E27FC236}">
                <a16:creationId xmlns:a16="http://schemas.microsoft.com/office/drawing/2014/main" id="{B4F71B2B-2F62-3B49-9D2C-97BD48D27AC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31070" y="4523164"/>
            <a:ext cx="2294914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16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Body copy.</a:t>
            </a:r>
          </a:p>
        </p:txBody>
      </p:sp>
      <p:sp>
        <p:nvSpPr>
          <p:cNvPr id="46" name="Text Placeholder 29">
            <a:extLst>
              <a:ext uri="{FF2B5EF4-FFF2-40B4-BE49-F238E27FC236}">
                <a16:creationId xmlns:a16="http://schemas.microsoft.com/office/drawing/2014/main" id="{971ABEB2-B5BB-594D-AEEA-9A457671257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063128" y="4028661"/>
            <a:ext cx="2297430" cy="4707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47" name="Text Placeholder 29">
            <a:extLst>
              <a:ext uri="{FF2B5EF4-FFF2-40B4-BE49-F238E27FC236}">
                <a16:creationId xmlns:a16="http://schemas.microsoft.com/office/drawing/2014/main" id="{14652348-5B9D-E044-9449-F4D9A5A12A8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065644" y="4523164"/>
            <a:ext cx="2294914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16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Body copy.</a:t>
            </a:r>
          </a:p>
        </p:txBody>
      </p:sp>
      <p:sp>
        <p:nvSpPr>
          <p:cNvPr id="18" name="Picture Placeholder 12">
            <a:extLst>
              <a:ext uri="{FF2B5EF4-FFF2-40B4-BE49-F238E27FC236}">
                <a16:creationId xmlns:a16="http://schemas.microsoft.com/office/drawing/2014/main" id="{6CDC96AD-BC72-E044-95B9-3626A77B932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59406" y="1895762"/>
            <a:ext cx="2297430" cy="153162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9" name="Picture Placeholder 12">
            <a:extLst>
              <a:ext uri="{FF2B5EF4-FFF2-40B4-BE49-F238E27FC236}">
                <a16:creationId xmlns:a16="http://schemas.microsoft.com/office/drawing/2014/main" id="{613C307B-B839-8D4D-ABB6-F6AEA66F513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593592" y="1895762"/>
            <a:ext cx="2297430" cy="153162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0" name="Picture Placeholder 12">
            <a:extLst>
              <a:ext uri="{FF2B5EF4-FFF2-40B4-BE49-F238E27FC236}">
                <a16:creationId xmlns:a16="http://schemas.microsoft.com/office/drawing/2014/main" id="{DBD27612-C9A6-364D-A37A-215FF5FCD31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328554" y="1895762"/>
            <a:ext cx="2297430" cy="153162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1" name="Picture Placeholder 12">
            <a:extLst>
              <a:ext uri="{FF2B5EF4-FFF2-40B4-BE49-F238E27FC236}">
                <a16:creationId xmlns:a16="http://schemas.microsoft.com/office/drawing/2014/main" id="{49E9A7EB-46E9-F242-838F-ADF1BFA8DE38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063128" y="1895762"/>
            <a:ext cx="2297430" cy="153162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9" name="Title Placeholder 3">
            <a:extLst>
              <a:ext uri="{FF2B5EF4-FFF2-40B4-BE49-F238E27FC236}">
                <a16:creationId xmlns:a16="http://schemas.microsoft.com/office/drawing/2014/main" id="{7253646A-D799-2443-91E4-7F9E966C97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548640"/>
            <a:ext cx="1051560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Text Placeholder 28">
            <a:extLst>
              <a:ext uri="{FF2B5EF4-FFF2-40B4-BE49-F238E27FC236}">
                <a16:creationId xmlns:a16="http://schemas.microsoft.com/office/drawing/2014/main" id="{7FFC4297-711D-C046-916F-0E6CC2E9FFA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85800" y="941832"/>
            <a:ext cx="10515600" cy="39567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50000"/>
              </a:lnSpc>
              <a:buNone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b="1" i="0" err="1">
                <a:latin typeface="Arial" panose="020B0604020202020204" pitchFamily="34" charset="0"/>
                <a:cs typeface="Arial" panose="020B0604020202020204" pitchFamily="34" charset="0"/>
              </a:rPr>
              <a:t>Subheadline</a:t>
            </a:r>
            <a:endParaRPr lang="en-US"/>
          </a:p>
        </p:txBody>
      </p:sp>
      <p:pic>
        <p:nvPicPr>
          <p:cNvPr id="28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4B1724A6-DDB0-A64F-83D7-B0D7E17F9DA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688803" y="6461276"/>
            <a:ext cx="927253" cy="163382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3B54246-2392-457E-8CDD-1218F55F8C11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r>
              <a:rPr lang="en-US"/>
              <a:t>Keysight Elastic Network Generator</a:t>
            </a:r>
          </a:p>
        </p:txBody>
      </p:sp>
    </p:spTree>
    <p:extLst>
      <p:ext uri="{BB962C8B-B14F-4D97-AF65-F5344CB8AC3E}">
        <p14:creationId xmlns:p14="http://schemas.microsoft.com/office/powerpoint/2010/main" val="4528061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32" userDrawn="1">
          <p15:clr>
            <a:srgbClr val="FBAE40"/>
          </p15:clr>
        </p15:guide>
        <p15:guide id="4" pos="7152">
          <p15:clr>
            <a:srgbClr val="FBAE40"/>
          </p15:clr>
        </p15:guide>
        <p15:guide id="5" orient="horz" pos="3960">
          <p15:clr>
            <a:srgbClr val="FBAE40"/>
          </p15:clr>
        </p15:guide>
        <p15:guide id="6" orient="horz" pos="360">
          <p15:clr>
            <a:srgbClr val="FBAE40"/>
          </p15:clr>
        </p15:guide>
        <p15:guide id="7" orient="horz" pos="768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Icon&#10;&#10;Description automatically generated">
            <a:extLst>
              <a:ext uri="{FF2B5EF4-FFF2-40B4-BE49-F238E27FC236}">
                <a16:creationId xmlns:a16="http://schemas.microsoft.com/office/drawing/2014/main" id="{E4E5948C-F770-D442-89C7-F1FBCA2CC5C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0BFC29A3-3623-6C40-8330-FACE0F19B546}"/>
              </a:ext>
            </a:extLst>
          </p:cNvPr>
          <p:cNvSpPr txBox="1"/>
          <p:nvPr userDrawn="1"/>
        </p:nvSpPr>
        <p:spPr>
          <a:xfrm>
            <a:off x="640080" y="2884235"/>
            <a:ext cx="4950065" cy="1089529"/>
          </a:xfrm>
          <a:prstGeom prst="rect">
            <a:avLst/>
          </a:prstGeom>
          <a:noFill/>
        </p:spPr>
        <p:txBody>
          <a:bodyPr wrap="square" lIns="0" tIns="45720" rIns="0" bIns="4572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72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old"/>
                <a:cs typeface="Arial Bold"/>
              </a:rPr>
              <a:t>Thank you</a:t>
            </a:r>
            <a:endParaRPr lang="en-US" sz="72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Bold"/>
              <a:cs typeface="Arial Bold"/>
            </a:endParaRPr>
          </a:p>
        </p:txBody>
      </p:sp>
      <p:pic>
        <p:nvPicPr>
          <p:cNvPr id="6" name="Picture 9" descr="Frame">
            <a:extLst>
              <a:ext uri="{FF2B5EF4-FFF2-40B4-BE49-F238E27FC236}">
                <a16:creationId xmlns:a16="http://schemas.microsoft.com/office/drawing/2014/main" id="{595AE243-576C-9B47-AB74-61C56CBBC54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29730" y="352425"/>
            <a:ext cx="1253490" cy="219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02545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28">
          <p15:clr>
            <a:srgbClr val="FBAE40"/>
          </p15:clr>
        </p15:guide>
        <p15:guide id="4" pos="7152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Background pattern&#10;&#10;Description automatically generated with low confidence">
            <a:extLst>
              <a:ext uri="{FF2B5EF4-FFF2-40B4-BE49-F238E27FC236}">
                <a16:creationId xmlns:a16="http://schemas.microsoft.com/office/drawing/2014/main" id="{0A6F92CA-792F-DB4A-9D71-99146A55D67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936D0CC3-E8D9-F041-9634-9CCFBF24A82E}"/>
              </a:ext>
            </a:extLst>
          </p:cNvPr>
          <p:cNvSpPr txBox="1"/>
          <p:nvPr userDrawn="1"/>
        </p:nvSpPr>
        <p:spPr>
          <a:xfrm>
            <a:off x="637737" y="2884235"/>
            <a:ext cx="4950065" cy="1089529"/>
          </a:xfrm>
          <a:prstGeom prst="rect">
            <a:avLst/>
          </a:prstGeom>
          <a:noFill/>
        </p:spPr>
        <p:txBody>
          <a:bodyPr wrap="square" lIns="0" tIns="45720" rIns="0" bIns="4572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7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 Bold"/>
                <a:cs typeface="Arial Bold"/>
              </a:rPr>
              <a:t>Thank you</a:t>
            </a:r>
            <a:endParaRPr lang="en-US" sz="7200" b="1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 Bold"/>
              <a:cs typeface="Arial Bold"/>
            </a:endParaRPr>
          </a:p>
        </p:txBody>
      </p:sp>
      <p:pic>
        <p:nvPicPr>
          <p:cNvPr id="6" name="Picture 18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601D6CD1-B7BB-C849-AAE4-0FDE27C3D10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>
          <a:xfrm>
            <a:off x="838200" y="352425"/>
            <a:ext cx="1243330" cy="219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63832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28">
            <a:extLst>
              <a:ext uri="{FF2B5EF4-FFF2-40B4-BE49-F238E27FC236}">
                <a16:creationId xmlns:a16="http://schemas.microsoft.com/office/drawing/2014/main" id="{BEE67AED-D594-B643-8EBE-2DA6FD44BD2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85800" y="941832"/>
            <a:ext cx="10515600" cy="39567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50000"/>
              </a:lnSpc>
              <a:buNone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b="1" i="0" err="1">
                <a:latin typeface="Arial" panose="020B0604020202020204" pitchFamily="34" charset="0"/>
                <a:cs typeface="Arial" panose="020B0604020202020204" pitchFamily="34" charset="0"/>
              </a:rPr>
              <a:t>Subheadline</a:t>
            </a:r>
            <a:endParaRPr lang="en-US"/>
          </a:p>
        </p:txBody>
      </p:sp>
      <p:sp>
        <p:nvSpPr>
          <p:cNvPr id="17" name="Title Placeholder 3">
            <a:extLst>
              <a:ext uri="{FF2B5EF4-FFF2-40B4-BE49-F238E27FC236}">
                <a16:creationId xmlns:a16="http://schemas.microsoft.com/office/drawing/2014/main" id="{2617F8F5-C25D-0343-89B2-64483998B3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548640"/>
            <a:ext cx="1051560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8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19A04097-824C-564F-A0C3-1CEFF5E048D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688803" y="6461276"/>
            <a:ext cx="927253" cy="163382"/>
          </a:xfrm>
          <a:prstGeom prst="rect">
            <a:avLst/>
          </a:prstGeom>
        </p:spPr>
      </p:pic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F41C6D9C-5CFD-B34A-AE2A-C9AA40B4DC8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95103" y="1956816"/>
            <a:ext cx="4638897" cy="3784600"/>
          </a:xfrm>
          <a:prstGeom prst="rect">
            <a:avLst/>
          </a:prstGeom>
        </p:spPr>
        <p:txBody>
          <a:bodyPr lIns="0"/>
          <a:lstStyle>
            <a:lvl1pPr>
              <a:buClr>
                <a:schemeClr val="tx1">
                  <a:lumMod val="85000"/>
                  <a:lumOff val="15000"/>
                </a:schemeClr>
              </a:buClr>
              <a:defRPr/>
            </a:lvl1pPr>
            <a:lvl2pPr>
              <a:buClr>
                <a:schemeClr val="tx1">
                  <a:lumMod val="85000"/>
                  <a:lumOff val="15000"/>
                </a:schemeClr>
              </a:buClr>
              <a:defRPr/>
            </a:lvl2pPr>
            <a:lvl3pPr>
              <a:buClr>
                <a:schemeClr val="tx1">
                  <a:lumMod val="85000"/>
                  <a:lumOff val="15000"/>
                </a:schemeClr>
              </a:buClr>
              <a:defRPr/>
            </a:lvl3pPr>
            <a:lvl4pPr>
              <a:buClr>
                <a:schemeClr val="tx1">
                  <a:lumMod val="85000"/>
                  <a:lumOff val="15000"/>
                </a:schemeClr>
              </a:buClr>
              <a:defRPr/>
            </a:lvl4pPr>
            <a:lvl5pPr>
              <a:buClr>
                <a:schemeClr val="tx1">
                  <a:lumMod val="85000"/>
                  <a:lumOff val="15000"/>
                </a:schemeClr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C63A4C70-EBC8-DD40-A6FD-BEAE06B8DB63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096000" y="1956816"/>
            <a:ext cx="4638897" cy="3784600"/>
          </a:xfrm>
          <a:prstGeom prst="rect">
            <a:avLst/>
          </a:prstGeom>
        </p:spPr>
        <p:txBody>
          <a:bodyPr lIns="0"/>
          <a:lstStyle>
            <a:lvl1pPr>
              <a:buClr>
                <a:schemeClr val="tx1">
                  <a:lumMod val="85000"/>
                  <a:lumOff val="15000"/>
                </a:schemeClr>
              </a:buClr>
              <a:defRPr/>
            </a:lvl1pPr>
            <a:lvl2pPr>
              <a:buClr>
                <a:schemeClr val="tx1">
                  <a:lumMod val="85000"/>
                  <a:lumOff val="15000"/>
                </a:schemeClr>
              </a:buClr>
              <a:defRPr/>
            </a:lvl2pPr>
            <a:lvl3pPr>
              <a:buClr>
                <a:schemeClr val="tx1">
                  <a:lumMod val="85000"/>
                  <a:lumOff val="15000"/>
                </a:schemeClr>
              </a:buClr>
              <a:defRPr/>
            </a:lvl3pPr>
            <a:lvl4pPr>
              <a:buClr>
                <a:schemeClr val="tx1">
                  <a:lumMod val="85000"/>
                  <a:lumOff val="15000"/>
                </a:schemeClr>
              </a:buClr>
              <a:defRPr/>
            </a:lvl4pPr>
            <a:lvl5pPr>
              <a:buClr>
                <a:schemeClr val="tx1">
                  <a:lumMod val="85000"/>
                  <a:lumOff val="15000"/>
                </a:schemeClr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E3D9A1A-4B4D-43C0-B9D5-AF06B99DACE0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en-US"/>
              <a:t>Keysight Elastic Network Generator</a:t>
            </a:r>
          </a:p>
        </p:txBody>
      </p:sp>
    </p:spTree>
    <p:extLst>
      <p:ext uri="{BB962C8B-B14F-4D97-AF65-F5344CB8AC3E}">
        <p14:creationId xmlns:p14="http://schemas.microsoft.com/office/powerpoint/2010/main" val="41316014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3960">
          <p15:clr>
            <a:srgbClr val="FBAE40"/>
          </p15:clr>
        </p15:guide>
        <p15:guide id="5" pos="7152">
          <p15:clr>
            <a:srgbClr val="FBAE40"/>
          </p15:clr>
        </p15:guide>
        <p15:guide id="6" pos="432" userDrawn="1">
          <p15:clr>
            <a:srgbClr val="FBAE40"/>
          </p15:clr>
        </p15:guide>
        <p15:guide id="7" orient="horz" pos="1224" userDrawn="1">
          <p15:clr>
            <a:srgbClr val="FBAE40"/>
          </p15:clr>
        </p15:guide>
        <p15:guide id="8" orient="horz" pos="3360" userDrawn="1">
          <p15:clr>
            <a:srgbClr val="FBAE40"/>
          </p15:clr>
        </p15:guide>
        <p15:guide id="9" userDrawn="1">
          <p15:clr>
            <a:srgbClr val="FBAE40"/>
          </p15:clr>
        </p15:guide>
        <p15:guide id="10" orient="horz" pos="768" userDrawn="1">
          <p15:clr>
            <a:srgbClr val="FBAE40"/>
          </p15:clr>
        </p15:guide>
        <p15:guide id="11" pos="3360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C5D7F826-0A7C-E245-8B3A-A7251BD8877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688803" y="6461276"/>
            <a:ext cx="927253" cy="163382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6EBE67A-6809-41F4-8EC6-8B0F5E987F1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Keysight Elastic Network Generator</a:t>
            </a:r>
          </a:p>
        </p:txBody>
      </p:sp>
    </p:spTree>
    <p:extLst>
      <p:ext uri="{BB962C8B-B14F-4D97-AF65-F5344CB8AC3E}">
        <p14:creationId xmlns:p14="http://schemas.microsoft.com/office/powerpoint/2010/main" val="740829977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28">
          <p15:clr>
            <a:srgbClr val="FBAE40"/>
          </p15:clr>
        </p15:guide>
        <p15:guide id="4" pos="7152">
          <p15:clr>
            <a:srgbClr val="FBAE40"/>
          </p15:clr>
        </p15:guide>
        <p15:guide id="5" orient="horz" pos="360">
          <p15:clr>
            <a:srgbClr val="FBAE40"/>
          </p15:clr>
        </p15:guide>
        <p15:guide id="6" orient="horz" pos="396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sight End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9" descr="Frame">
            <a:extLst>
              <a:ext uri="{FF2B5EF4-FFF2-40B4-BE49-F238E27FC236}">
                <a16:creationId xmlns:a16="http://schemas.microsoft.com/office/drawing/2014/main" id="{D08F5E51-744F-2F41-A454-7F3B6CB9088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217120" y="3100624"/>
            <a:ext cx="3757760" cy="6567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172785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sight End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FCD435F1-2F1C-BD4B-A53F-6D062E7806D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4217120" y="3097941"/>
            <a:ext cx="3757760" cy="6621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811971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sight End Grey">
    <p:bg>
      <p:bgPr>
        <a:solidFill>
          <a:srgbClr val="33333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9" descr="Frame">
            <a:extLst>
              <a:ext uri="{FF2B5EF4-FFF2-40B4-BE49-F238E27FC236}">
                <a16:creationId xmlns:a16="http://schemas.microsoft.com/office/drawing/2014/main" id="{D08F5E51-744F-2F41-A454-7F3B6CB9088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217120" y="3100624"/>
            <a:ext cx="3757760" cy="6567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207780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sight End Wav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shape&#10;&#10;Description automatically generated">
            <a:extLst>
              <a:ext uri="{FF2B5EF4-FFF2-40B4-BE49-F238E27FC236}">
                <a16:creationId xmlns:a16="http://schemas.microsoft.com/office/drawing/2014/main" id="{2CFAFCDD-8C9A-BB4A-87E0-5EEE1E65AAF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" name="Picture 9" descr="Frame">
            <a:extLst>
              <a:ext uri="{FF2B5EF4-FFF2-40B4-BE49-F238E27FC236}">
                <a16:creationId xmlns:a16="http://schemas.microsoft.com/office/drawing/2014/main" id="{D08F5E51-744F-2F41-A454-7F3B6CB908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41135" y="3100624"/>
            <a:ext cx="3757760" cy="6567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597155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sight End Wav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shape&#10;&#10;Description automatically generated">
            <a:extLst>
              <a:ext uri="{FF2B5EF4-FFF2-40B4-BE49-F238E27FC236}">
                <a16:creationId xmlns:a16="http://schemas.microsoft.com/office/drawing/2014/main" id="{66BFC81D-42B0-4140-AFBA-C54C5ABAE17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FCD435F1-2F1C-BD4B-A53F-6D062E7806D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>
          <a:xfrm>
            <a:off x="841135" y="3097941"/>
            <a:ext cx="3757760" cy="6621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328249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sight End Wave Grey">
    <p:bg>
      <p:bgPr>
        <a:solidFill>
          <a:srgbClr val="33333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lamp, light&#10;&#10;Description automatically generated">
            <a:extLst>
              <a:ext uri="{FF2B5EF4-FFF2-40B4-BE49-F238E27FC236}">
                <a16:creationId xmlns:a16="http://schemas.microsoft.com/office/drawing/2014/main" id="{12DD4F86-0839-4F4D-86B3-2944AE41863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" name="Picture 9" descr="Frame">
            <a:extLst>
              <a:ext uri="{FF2B5EF4-FFF2-40B4-BE49-F238E27FC236}">
                <a16:creationId xmlns:a16="http://schemas.microsoft.com/office/drawing/2014/main" id="{D08F5E51-744F-2F41-A454-7F3B6CB908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41135" y="3100624"/>
            <a:ext cx="3757760" cy="6567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720514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 +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s 5">
            <a:extLst>
              <a:ext uri="{FF2B5EF4-FFF2-40B4-BE49-F238E27FC236}">
                <a16:creationId xmlns:a16="http://schemas.microsoft.com/office/drawing/2014/main" id="{9E1EF039-93ED-6D47-98B6-4F3E3A68CEFE}"/>
              </a:ext>
            </a:extLst>
          </p:cNvPr>
          <p:cNvSpPr/>
          <p:nvPr userDrawn="1"/>
        </p:nvSpPr>
        <p:spPr>
          <a:xfrm>
            <a:off x="6096000" y="0"/>
            <a:ext cx="6099048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6" name="Picture Placeholder 14">
            <a:extLst>
              <a:ext uri="{FF2B5EF4-FFF2-40B4-BE49-F238E27FC236}">
                <a16:creationId xmlns:a16="http://schemas.microsoft.com/office/drawing/2014/main" id="{99C3835D-E0AB-1D49-A9AD-9AA573AA392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968752" y="1675588"/>
            <a:ext cx="4379970" cy="4038929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Title Placeholder 3">
            <a:extLst>
              <a:ext uri="{FF2B5EF4-FFF2-40B4-BE49-F238E27FC236}">
                <a16:creationId xmlns:a16="http://schemas.microsoft.com/office/drawing/2014/main" id="{B5A27C0B-8685-CD42-B549-02969AFD9F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799" y="548640"/>
            <a:ext cx="5184648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28">
            <a:extLst>
              <a:ext uri="{FF2B5EF4-FFF2-40B4-BE49-F238E27FC236}">
                <a16:creationId xmlns:a16="http://schemas.microsoft.com/office/drawing/2014/main" id="{0A6E08A1-5D47-3647-9AFA-31DD0A0C1B7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85800" y="941832"/>
            <a:ext cx="5193792" cy="39567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50000"/>
              </a:lnSpc>
              <a:buNone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b="1" i="0" err="1">
                <a:latin typeface="Arial" panose="020B0604020202020204" pitchFamily="34" charset="0"/>
                <a:cs typeface="Arial" panose="020B0604020202020204" pitchFamily="34" charset="0"/>
              </a:rPr>
              <a:t>Subheadline</a:t>
            </a:r>
            <a:endParaRPr lang="en-US"/>
          </a:p>
        </p:txBody>
      </p:sp>
      <p:pic>
        <p:nvPicPr>
          <p:cNvPr id="17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B4E5BEAC-6FF8-144D-853A-648BE6A5ED4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688803" y="6461276"/>
            <a:ext cx="927253" cy="163382"/>
          </a:xfrm>
          <a:prstGeom prst="rect">
            <a:avLst/>
          </a:prstGeom>
        </p:spPr>
      </p:pic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A8FF930-967D-4643-878E-53A2EF0ABDEB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95104" y="1676400"/>
            <a:ext cx="5180764" cy="3784600"/>
          </a:xfrm>
          <a:prstGeom prst="rect">
            <a:avLst/>
          </a:prstGeom>
        </p:spPr>
        <p:txBody>
          <a:bodyPr lIns="0"/>
          <a:lstStyle>
            <a:lvl1pPr>
              <a:buClr>
                <a:schemeClr val="tx1">
                  <a:lumMod val="85000"/>
                  <a:lumOff val="15000"/>
                </a:schemeClr>
              </a:buClr>
              <a:defRPr/>
            </a:lvl1pPr>
            <a:lvl2pPr>
              <a:buClr>
                <a:schemeClr val="tx1">
                  <a:lumMod val="85000"/>
                  <a:lumOff val="15000"/>
                </a:schemeClr>
              </a:buClr>
              <a:defRPr/>
            </a:lvl2pPr>
            <a:lvl3pPr>
              <a:buClr>
                <a:schemeClr val="tx1">
                  <a:lumMod val="85000"/>
                  <a:lumOff val="15000"/>
                </a:schemeClr>
              </a:buClr>
              <a:defRPr/>
            </a:lvl3pPr>
            <a:lvl4pPr>
              <a:buClr>
                <a:schemeClr val="tx1">
                  <a:lumMod val="85000"/>
                  <a:lumOff val="15000"/>
                </a:schemeClr>
              </a:buClr>
              <a:defRPr/>
            </a:lvl4pPr>
            <a:lvl5pPr>
              <a:buClr>
                <a:schemeClr val="tx1">
                  <a:lumMod val="85000"/>
                  <a:lumOff val="15000"/>
                </a:schemeClr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82754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32" userDrawn="1">
          <p15:clr>
            <a:srgbClr val="FBAE40"/>
          </p15:clr>
        </p15:guide>
        <p15:guide id="4" orient="horz" pos="3960">
          <p15:clr>
            <a:srgbClr val="FBAE40"/>
          </p15:clr>
        </p15:guide>
        <p15:guide id="5" orient="horz" pos="1056" userDrawn="1">
          <p15:clr>
            <a:srgbClr val="FBAE40"/>
          </p15:clr>
        </p15:guide>
        <p15:guide id="6" pos="7152">
          <p15:clr>
            <a:srgbClr val="FBAE40"/>
          </p15:clr>
        </p15:guide>
        <p15:guide id="7" orient="horz" pos="768" userDrawn="1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 + Full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4">
            <a:extLst>
              <a:ext uri="{FF2B5EF4-FFF2-40B4-BE49-F238E27FC236}">
                <a16:creationId xmlns:a16="http://schemas.microsoft.com/office/drawing/2014/main" id="{99C3835D-E0AB-1D49-A9AD-9AA573AA392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Title Placeholder 3">
            <a:extLst>
              <a:ext uri="{FF2B5EF4-FFF2-40B4-BE49-F238E27FC236}">
                <a16:creationId xmlns:a16="http://schemas.microsoft.com/office/drawing/2014/main" id="{8F0B94B4-E938-B24B-AF99-FD41F764EE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548640"/>
            <a:ext cx="5029200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28">
            <a:extLst>
              <a:ext uri="{FF2B5EF4-FFF2-40B4-BE49-F238E27FC236}">
                <a16:creationId xmlns:a16="http://schemas.microsoft.com/office/drawing/2014/main" id="{9627A05C-6654-7D4F-96C0-0EBBBB3F161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85800" y="941832"/>
            <a:ext cx="5029200" cy="39567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50000"/>
              </a:lnSpc>
              <a:buNone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b="1" i="0" err="1">
                <a:latin typeface="Arial" panose="020B0604020202020204" pitchFamily="34" charset="0"/>
                <a:cs typeface="Arial" panose="020B0604020202020204" pitchFamily="34" charset="0"/>
              </a:rPr>
              <a:t>Subheadline</a:t>
            </a:r>
            <a:endParaRPr lang="en-US"/>
          </a:p>
        </p:txBody>
      </p:sp>
      <p:pic>
        <p:nvPicPr>
          <p:cNvPr id="15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79888EEC-7C01-9D48-A53D-AE6EF0ABD0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688803" y="6461276"/>
            <a:ext cx="927253" cy="163382"/>
          </a:xfrm>
          <a:prstGeom prst="rect">
            <a:avLst/>
          </a:prstGeom>
        </p:spPr>
      </p:pic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D7CD2694-8040-F74E-A308-B5233557F86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95104" y="1676400"/>
            <a:ext cx="5036829" cy="3784600"/>
          </a:xfrm>
          <a:prstGeom prst="rect">
            <a:avLst/>
          </a:prstGeom>
        </p:spPr>
        <p:txBody>
          <a:bodyPr lIns="0"/>
          <a:lstStyle>
            <a:lvl1pPr>
              <a:buClr>
                <a:schemeClr val="tx1">
                  <a:lumMod val="85000"/>
                  <a:lumOff val="15000"/>
                </a:schemeClr>
              </a:buClr>
              <a:defRPr/>
            </a:lvl1pPr>
            <a:lvl2pPr>
              <a:buClr>
                <a:schemeClr val="tx1">
                  <a:lumMod val="85000"/>
                  <a:lumOff val="15000"/>
                </a:schemeClr>
              </a:buClr>
              <a:defRPr/>
            </a:lvl2pPr>
            <a:lvl3pPr>
              <a:buClr>
                <a:schemeClr val="tx1">
                  <a:lumMod val="85000"/>
                  <a:lumOff val="15000"/>
                </a:schemeClr>
              </a:buClr>
              <a:defRPr/>
            </a:lvl3pPr>
            <a:lvl4pPr>
              <a:buClr>
                <a:schemeClr val="tx1">
                  <a:lumMod val="85000"/>
                  <a:lumOff val="15000"/>
                </a:schemeClr>
              </a:buClr>
              <a:defRPr/>
            </a:lvl4pPr>
            <a:lvl5pPr>
              <a:buClr>
                <a:schemeClr val="tx1">
                  <a:lumMod val="85000"/>
                  <a:lumOff val="15000"/>
                </a:schemeClr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159541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32" userDrawn="1">
          <p15:clr>
            <a:srgbClr val="FBAE40"/>
          </p15:clr>
        </p15:guide>
        <p15:guide id="4" orient="horz" pos="3960">
          <p15:clr>
            <a:srgbClr val="FBAE40"/>
          </p15:clr>
        </p15:guide>
        <p15:guide id="5" orient="horz" pos="360">
          <p15:clr>
            <a:srgbClr val="FBAE40"/>
          </p15:clr>
        </p15:guide>
        <p15:guide id="6" pos="7152">
          <p15:clr>
            <a:srgbClr val="FBAE40"/>
          </p15:clr>
        </p15:guide>
        <p15:guide id="7" orient="horz" pos="1056" userDrawn="1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x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37">
            <a:extLst>
              <a:ext uri="{FF2B5EF4-FFF2-40B4-BE49-F238E27FC236}">
                <a16:creationId xmlns:a16="http://schemas.microsoft.com/office/drawing/2014/main" id="{21BAC790-613F-D74E-B917-79BCD2C2A3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1695" y="4050302"/>
            <a:ext cx="3710353" cy="16129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Body copy.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6" name="Text Placeholder 29">
            <a:extLst>
              <a:ext uri="{FF2B5EF4-FFF2-40B4-BE49-F238E27FC236}">
                <a16:creationId xmlns:a16="http://schemas.microsoft.com/office/drawing/2014/main" id="{B45E881D-FF54-F741-AA7C-75FBDA3D4E8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87804" y="1999401"/>
            <a:ext cx="3710353" cy="971296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Headline</a:t>
            </a:r>
            <a:br>
              <a:rPr lang="en-US"/>
            </a:br>
            <a:r>
              <a:rPr lang="en-US"/>
              <a:t>here</a:t>
            </a:r>
          </a:p>
        </p:txBody>
      </p:sp>
      <p:sp>
        <p:nvSpPr>
          <p:cNvPr id="38" name="Picture Placeholder 2">
            <a:extLst>
              <a:ext uri="{FF2B5EF4-FFF2-40B4-BE49-F238E27FC236}">
                <a16:creationId xmlns:a16="http://schemas.microsoft.com/office/drawing/2014/main" id="{74D4800A-BF10-2A4C-9A3B-07CE331C0DD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8" name="Text Placeholder 37">
            <a:extLst>
              <a:ext uri="{FF2B5EF4-FFF2-40B4-BE49-F238E27FC236}">
                <a16:creationId xmlns:a16="http://schemas.microsoft.com/office/drawing/2014/main" id="{07CD87BA-1D84-334B-8EB5-E50D5AB8096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81695" y="3681039"/>
            <a:ext cx="3710353" cy="270426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UBHEADLINE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5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75FF6A19-DA11-4047-B8E8-FB9D2783D49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688803" y="6461276"/>
            <a:ext cx="927253" cy="163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68160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32" userDrawn="1">
          <p15:clr>
            <a:srgbClr val="FBAE40"/>
          </p15:clr>
        </p15:guide>
        <p15:guide id="4" pos="7152">
          <p15:clr>
            <a:srgbClr val="FBAE40"/>
          </p15:clr>
        </p15:guide>
        <p15:guide id="5" orient="horz" pos="3960">
          <p15:clr>
            <a:srgbClr val="FBAE40"/>
          </p15:clr>
        </p15:guide>
        <p15:guide id="6" orient="horz" pos="360">
          <p15:clr>
            <a:srgbClr val="FBAE40"/>
          </p15:clr>
        </p15:guide>
        <p15:guide id="7" orient="horz" pos="1512" userDrawn="1">
          <p15:clr>
            <a:srgbClr val="FBAE40"/>
          </p15:clr>
        </p15:guide>
        <p15:guide id="8" orient="horz" pos="2448" userDrawn="1">
          <p15:clr>
            <a:srgbClr val="FBAE40"/>
          </p15:clr>
        </p15:guide>
        <p15:guide id="9" orient="horz" pos="2688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Placeholder 3">
            <a:extLst>
              <a:ext uri="{FF2B5EF4-FFF2-40B4-BE49-F238E27FC236}">
                <a16:creationId xmlns:a16="http://schemas.microsoft.com/office/drawing/2014/main" id="{CD2E9ECA-BB73-5446-94C6-7D515256A7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548640"/>
            <a:ext cx="1051560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1" name="Text Placeholder 28">
            <a:extLst>
              <a:ext uri="{FF2B5EF4-FFF2-40B4-BE49-F238E27FC236}">
                <a16:creationId xmlns:a16="http://schemas.microsoft.com/office/drawing/2014/main" id="{CD776A90-3591-4F4A-A6BD-AFC43685577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85800" y="941832"/>
            <a:ext cx="10515600" cy="39567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50000"/>
              </a:lnSpc>
              <a:buNone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b="1" i="0" err="1">
                <a:latin typeface="Arial" panose="020B0604020202020204" pitchFamily="34" charset="0"/>
                <a:cs typeface="Arial" panose="020B0604020202020204" pitchFamily="34" charset="0"/>
              </a:rPr>
              <a:t>Subheadline</a:t>
            </a:r>
            <a:endParaRPr lang="en-US"/>
          </a:p>
        </p:txBody>
      </p:sp>
      <p:pic>
        <p:nvPicPr>
          <p:cNvPr id="15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2D06CFF0-8DC9-7E41-AC40-F94BE31D73A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688803" y="6461276"/>
            <a:ext cx="927253" cy="163382"/>
          </a:xfrm>
          <a:prstGeom prst="rect">
            <a:avLst/>
          </a:prstGeom>
        </p:spPr>
      </p:pic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000BAC10-21FA-674B-9265-1079E58C875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95103" y="1956816"/>
            <a:ext cx="3152997" cy="3784600"/>
          </a:xfrm>
          <a:prstGeom prst="rect">
            <a:avLst/>
          </a:prstGeom>
        </p:spPr>
        <p:txBody>
          <a:bodyPr lIns="0"/>
          <a:lstStyle>
            <a:lvl1pPr>
              <a:buClr>
                <a:schemeClr val="tx1">
                  <a:lumMod val="85000"/>
                  <a:lumOff val="15000"/>
                </a:schemeClr>
              </a:buClr>
              <a:defRPr/>
            </a:lvl1pPr>
            <a:lvl2pPr>
              <a:buClr>
                <a:schemeClr val="tx1">
                  <a:lumMod val="85000"/>
                  <a:lumOff val="15000"/>
                </a:schemeClr>
              </a:buClr>
              <a:defRPr/>
            </a:lvl2pPr>
            <a:lvl3pPr>
              <a:buClr>
                <a:schemeClr val="tx1">
                  <a:lumMod val="85000"/>
                  <a:lumOff val="15000"/>
                </a:schemeClr>
              </a:buClr>
              <a:defRPr/>
            </a:lvl3pPr>
            <a:lvl4pPr>
              <a:buClr>
                <a:schemeClr val="tx1">
                  <a:lumMod val="85000"/>
                  <a:lumOff val="15000"/>
                </a:schemeClr>
              </a:buClr>
              <a:defRPr/>
            </a:lvl4pPr>
            <a:lvl5pPr>
              <a:buClr>
                <a:schemeClr val="tx1">
                  <a:lumMod val="85000"/>
                  <a:lumOff val="15000"/>
                </a:schemeClr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87CD4539-19F2-514E-A69E-E54F09AEBF5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4267200" y="1956816"/>
            <a:ext cx="3152997" cy="3784600"/>
          </a:xfrm>
          <a:prstGeom prst="rect">
            <a:avLst/>
          </a:prstGeom>
        </p:spPr>
        <p:txBody>
          <a:bodyPr lIns="0"/>
          <a:lstStyle>
            <a:lvl1pPr>
              <a:buClr>
                <a:schemeClr val="tx1">
                  <a:lumMod val="85000"/>
                  <a:lumOff val="15000"/>
                </a:schemeClr>
              </a:buClr>
              <a:defRPr/>
            </a:lvl1pPr>
            <a:lvl2pPr>
              <a:buClr>
                <a:schemeClr val="tx1">
                  <a:lumMod val="85000"/>
                  <a:lumOff val="15000"/>
                </a:schemeClr>
              </a:buClr>
              <a:defRPr/>
            </a:lvl2pPr>
            <a:lvl3pPr>
              <a:buClr>
                <a:schemeClr val="tx1">
                  <a:lumMod val="85000"/>
                  <a:lumOff val="15000"/>
                </a:schemeClr>
              </a:buClr>
              <a:defRPr/>
            </a:lvl3pPr>
            <a:lvl4pPr>
              <a:buClr>
                <a:schemeClr val="tx1">
                  <a:lumMod val="85000"/>
                  <a:lumOff val="15000"/>
                </a:schemeClr>
              </a:buClr>
              <a:defRPr/>
            </a:lvl4pPr>
            <a:lvl5pPr>
              <a:buClr>
                <a:schemeClr val="tx1">
                  <a:lumMod val="85000"/>
                  <a:lumOff val="15000"/>
                </a:schemeClr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8E167795-E8E3-0B4D-94E4-420F0EA6AEB0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848600" y="1956816"/>
            <a:ext cx="3152997" cy="3784600"/>
          </a:xfrm>
          <a:prstGeom prst="rect">
            <a:avLst/>
          </a:prstGeom>
        </p:spPr>
        <p:txBody>
          <a:bodyPr lIns="0"/>
          <a:lstStyle>
            <a:lvl1pPr>
              <a:buClr>
                <a:schemeClr val="tx1">
                  <a:lumMod val="85000"/>
                  <a:lumOff val="15000"/>
                </a:schemeClr>
              </a:buClr>
              <a:defRPr/>
            </a:lvl1pPr>
            <a:lvl2pPr>
              <a:buClr>
                <a:schemeClr val="tx1">
                  <a:lumMod val="85000"/>
                  <a:lumOff val="15000"/>
                </a:schemeClr>
              </a:buClr>
              <a:defRPr/>
            </a:lvl2pPr>
            <a:lvl3pPr>
              <a:buClr>
                <a:schemeClr val="tx1">
                  <a:lumMod val="85000"/>
                  <a:lumOff val="15000"/>
                </a:schemeClr>
              </a:buClr>
              <a:defRPr/>
            </a:lvl3pPr>
            <a:lvl4pPr>
              <a:buClr>
                <a:schemeClr val="tx1">
                  <a:lumMod val="85000"/>
                  <a:lumOff val="15000"/>
                </a:schemeClr>
              </a:buClr>
              <a:defRPr/>
            </a:lvl4pPr>
            <a:lvl5pPr>
              <a:buClr>
                <a:schemeClr val="tx1">
                  <a:lumMod val="85000"/>
                  <a:lumOff val="15000"/>
                </a:schemeClr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E8B1714-0022-450E-9D16-F73732483161}"/>
              </a:ext>
            </a:extLst>
          </p:cNvPr>
          <p:cNvSpPr>
            <a:spLocks noGrp="1"/>
          </p:cNvSpPr>
          <p:nvPr>
            <p:ph type="ftr" sz="quarter" idx="36"/>
          </p:nvPr>
        </p:nvSpPr>
        <p:spPr/>
        <p:txBody>
          <a:bodyPr/>
          <a:lstStyle/>
          <a:p>
            <a:r>
              <a:rPr lang="en-US"/>
              <a:t>Keysight Elastic Network Generator</a:t>
            </a:r>
          </a:p>
        </p:txBody>
      </p:sp>
    </p:spTree>
    <p:extLst>
      <p:ext uri="{BB962C8B-B14F-4D97-AF65-F5344CB8AC3E}">
        <p14:creationId xmlns:p14="http://schemas.microsoft.com/office/powerpoint/2010/main" val="39681084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152">
          <p15:clr>
            <a:srgbClr val="FBAE40"/>
          </p15:clr>
        </p15:guide>
        <p15:guide id="6" orient="horz" pos="4152" userDrawn="1">
          <p15:clr>
            <a:srgbClr val="FBAE40"/>
          </p15:clr>
        </p15:guide>
        <p15:guide id="7" orient="horz" pos="1224" userDrawn="1">
          <p15:clr>
            <a:srgbClr val="FBAE40"/>
          </p15:clr>
        </p15:guide>
        <p15:guide id="8" pos="432" userDrawn="1">
          <p15:clr>
            <a:srgbClr val="FBAE40"/>
          </p15:clr>
        </p15:guide>
        <p15:guide id="9" orient="horz" pos="3360" userDrawn="1">
          <p15:clr>
            <a:srgbClr val="FBAE40"/>
          </p15:clr>
        </p15:guide>
        <p15:guide id="10" pos="2424" userDrawn="1">
          <p15:clr>
            <a:srgbClr val="FBAE40"/>
          </p15:clr>
        </p15:guide>
        <p15:guide id="11" pos="2688" userDrawn="1">
          <p15:clr>
            <a:srgbClr val="FBAE40"/>
          </p15:clr>
        </p15:guide>
        <p15:guide id="12" pos="4680" userDrawn="1">
          <p15:clr>
            <a:srgbClr val="FBAE40"/>
          </p15:clr>
        </p15:guide>
        <p15:guide id="13" pos="4944" userDrawn="1">
          <p15:clr>
            <a:srgbClr val="FBAE40"/>
          </p15:clr>
        </p15:guide>
        <p15:guide id="14" orient="horz" pos="768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Picture Placeholder 57">
            <a:extLst>
              <a:ext uri="{FF2B5EF4-FFF2-40B4-BE49-F238E27FC236}">
                <a16:creationId xmlns:a16="http://schemas.microsoft.com/office/drawing/2014/main" id="{39762CA6-FE28-CB4A-9679-A779F7045F6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542"/>
            <a:ext cx="12192000" cy="68585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18427736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(Tex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">
            <a:extLst>
              <a:ext uri="{FF2B5EF4-FFF2-40B4-BE49-F238E27FC236}">
                <a16:creationId xmlns:a16="http://schemas.microsoft.com/office/drawing/2014/main" id="{DFCA12C4-AE90-4F31-9EA7-3AA24CB391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449201" y="920555"/>
            <a:ext cx="7453790" cy="393954"/>
          </a:xfr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vert="horz" lIns="137160" tIns="73152" rIns="137160" bIns="73152" rtlCol="0" anchor="ctr">
            <a:spAutoFit/>
          </a:bodyPr>
          <a:lstStyle>
            <a:lvl1pPr marL="0" indent="0">
              <a:buFont typeface="Arial" panose="020B0604020202020204" pitchFamily="34" charset="0"/>
              <a:buNone/>
              <a:defRPr lang="en-US" sz="1600" b="1" cap="all" spc="300" baseline="0" dirty="0">
                <a:solidFill>
                  <a:schemeClr val="bg1"/>
                </a:solidFill>
              </a:defRPr>
            </a:lvl1pPr>
          </a:lstStyle>
          <a:p>
            <a:pPr marL="182880" lvl="0" indent="-182880"/>
            <a:r>
              <a:rPr lang="en-US"/>
              <a:t>Subtitle (Delete if not used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4ADC8EF-0ABA-4B52-AEA2-7A3943163EA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Keysight Elastic Network Generator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2B8CEC4-B0CD-4400-A6AD-DD3E12310A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 Only Layout</a:t>
            </a:r>
          </a:p>
        </p:txBody>
      </p:sp>
    </p:spTree>
    <p:extLst>
      <p:ext uri="{BB962C8B-B14F-4D97-AF65-F5344CB8AC3E}">
        <p14:creationId xmlns:p14="http://schemas.microsoft.com/office/powerpoint/2010/main" val="106177489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3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3"/>
          <p:cNvSpPr txBox="1">
            <a:spLocks noGrp="1"/>
          </p:cNvSpPr>
          <p:nvPr>
            <p:ph type="body" idx="1"/>
          </p:nvPr>
        </p:nvSpPr>
        <p:spPr>
          <a:xfrm>
            <a:off x="415600" y="1509700"/>
            <a:ext cx="11360800" cy="45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54185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800"/>
              <a:buChar char="●"/>
              <a:defRPr/>
            </a:lvl1pPr>
            <a:lvl2pPr marL="1219170" lvl="1" indent="-50798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Char char="○"/>
              <a:defRPr/>
            </a:lvl2pPr>
            <a:lvl3pPr marL="1828754" lvl="2" indent="-49105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200"/>
              <a:buChar char="■"/>
              <a:defRPr/>
            </a:lvl3pPr>
            <a:lvl4pPr marL="2438339" lvl="3" indent="-47412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000"/>
              <a:buChar char="●"/>
              <a:defRPr/>
            </a:lvl4pPr>
            <a:lvl5pPr marL="3047924" lvl="4" indent="-47412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000"/>
              <a:buChar char="○"/>
              <a:defRPr/>
            </a:lvl5pPr>
            <a:lvl6pPr marL="3657509" lvl="5" indent="-47412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000"/>
              <a:buChar char="■"/>
              <a:defRPr/>
            </a:lvl6pPr>
            <a:lvl7pPr marL="4267093" lvl="6" indent="-47412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000"/>
              <a:buChar char="●"/>
              <a:defRPr/>
            </a:lvl7pPr>
            <a:lvl8pPr marL="4876678" lvl="7" indent="-47412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000"/>
              <a:buChar char="○"/>
              <a:defRPr/>
            </a:lvl8pPr>
            <a:lvl9pPr marL="5486263" lvl="8" indent="-47412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000"/>
              <a:buChar char="■"/>
              <a:defRPr/>
            </a:lvl9pPr>
          </a:lstStyle>
          <a:p>
            <a:endParaRPr/>
          </a:p>
        </p:txBody>
      </p:sp>
      <p:sp>
        <p:nvSpPr>
          <p:cNvPr id="19" name="Google Shape;19;p3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07719113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Corp Preso RS content, ls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37">
            <a:extLst>
              <a:ext uri="{FF2B5EF4-FFF2-40B4-BE49-F238E27FC236}">
                <a16:creationId xmlns:a16="http://schemas.microsoft.com/office/drawing/2014/main" id="{F339DFA3-546C-AF44-B0A5-033B53F4548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62000" y="4038600"/>
            <a:ext cx="4572000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Subheadline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copy.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Text Placeholder 29">
            <a:extLst>
              <a:ext uri="{FF2B5EF4-FFF2-40B4-BE49-F238E27FC236}">
                <a16:creationId xmlns:a16="http://schemas.microsoft.com/office/drawing/2014/main" id="{47D5C518-FEA8-E448-83F0-4001C6F4386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2000" y="2057400"/>
            <a:ext cx="4572000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C4EB9A0-9C8B-EA7D-3352-39B6A49A6770}"/>
              </a:ext>
            </a:extLst>
          </p:cNvPr>
          <p:cNvSpPr/>
          <p:nvPr userDrawn="1"/>
        </p:nvSpPr>
        <p:spPr>
          <a:xfrm>
            <a:off x="0" y="1509559"/>
            <a:ext cx="3272589" cy="8876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" name="Picture 9" descr="Frame">
            <a:extLst>
              <a:ext uri="{FF2B5EF4-FFF2-40B4-BE49-F238E27FC236}">
                <a16:creationId xmlns:a16="http://schemas.microsoft.com/office/drawing/2014/main" id="{571C6C55-05B0-7E70-8621-C24F4B03D10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9031" y="6461352"/>
            <a:ext cx="927101" cy="1621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04177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3962">
          <p15:clr>
            <a:srgbClr val="FBAE40"/>
          </p15:clr>
        </p15:guide>
        <p15:guide id="5" pos="7150">
          <p15:clr>
            <a:srgbClr val="FBAE40"/>
          </p15:clr>
        </p15:guide>
        <p15:guide id="6" orient="horz" pos="360">
          <p15:clr>
            <a:srgbClr val="FBAE40"/>
          </p15:clr>
        </p15:guide>
        <p15:guide id="7" pos="432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hot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Picture Placeholder 57">
            <a:extLst>
              <a:ext uri="{FF2B5EF4-FFF2-40B4-BE49-F238E27FC236}">
                <a16:creationId xmlns:a16="http://schemas.microsoft.com/office/drawing/2014/main" id="{39762CA6-FE28-CB4A-9679-A779F7045F6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543"/>
            <a:ext cx="12192000" cy="68357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Rectangle 10">
            <a:extLst>
              <a:ext uri="{FF2B5EF4-FFF2-40B4-BE49-F238E27FC236}">
                <a16:creationId xmlns:a16="http://schemas.microsoft.com/office/drawing/2014/main" id="{3C698969-5782-7844-892C-FF02731C211C}"/>
              </a:ext>
            </a:extLst>
          </p:cNvPr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chemeClr val="tx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FDCA00A-0B78-6444-90B3-2F7C3529BE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53289" y="3191676"/>
            <a:ext cx="10515600" cy="1325563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48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old" panose="020B0704020202090204" charset="0"/>
                <a:cs typeface="Arial Bold" panose="020B070402020209020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solidFill>
                  <a:schemeClr val="bg1"/>
                </a:solidFill>
              </a:rPr>
              <a:t>Lorem ipsum dolor sit</a:t>
            </a:r>
            <a:br>
              <a:rPr lang="en-US">
                <a:solidFill>
                  <a:schemeClr val="bg1"/>
                </a:solidFill>
              </a:rPr>
            </a:br>
            <a:r>
              <a:rPr lang="en-US" err="1">
                <a:solidFill>
                  <a:schemeClr val="bg1"/>
                </a:solidFill>
              </a:rPr>
              <a:t>consect</a:t>
            </a:r>
            <a:r>
              <a:rPr lang="en-US">
                <a:solidFill>
                  <a:schemeClr val="bg1"/>
                </a:solidFill>
              </a:rPr>
              <a:t> </a:t>
            </a:r>
            <a:r>
              <a:rPr lang="en-US" err="1">
                <a:solidFill>
                  <a:schemeClr val="bg1"/>
                </a:solidFill>
              </a:rPr>
              <a:t>adipiscing</a:t>
            </a:r>
            <a:r>
              <a:rPr lang="en-US">
                <a:solidFill>
                  <a:schemeClr val="bg1"/>
                </a:solidFill>
              </a:rPr>
              <a:t>.</a:t>
            </a:r>
            <a:endParaRPr kumimoji="0" lang="en-US" sz="4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old" panose="020B0704020202090204" charset="0"/>
              <a:ea typeface="+mn-ea"/>
              <a:cs typeface="Arial Bold" panose="020B0704020202090204" charset="0"/>
            </a:endParaRPr>
          </a:p>
        </p:txBody>
      </p:sp>
      <p:sp>
        <p:nvSpPr>
          <p:cNvPr id="9" name="Text Placeholder 55">
            <a:extLst>
              <a:ext uri="{FF2B5EF4-FFF2-40B4-BE49-F238E27FC236}">
                <a16:creationId xmlns:a16="http://schemas.microsoft.com/office/drawing/2014/main" id="{25E67E77-32D0-4E4D-8111-2B9C52C2748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54433" y="5076567"/>
            <a:ext cx="6190488" cy="56149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indent="0">
              <a:lnSpc>
                <a:spcPct val="100000"/>
              </a:lnSpc>
              <a:buNone/>
            </a:pPr>
            <a:r>
              <a:rPr lang="en-US" sz="1600" b="1">
                <a:solidFill>
                  <a:srgbClr val="E900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me, Title</a:t>
            </a:r>
            <a:br>
              <a:rPr lang="en-US" sz="1600" b="1">
                <a:solidFill>
                  <a:srgbClr val="E90029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600" b="1">
                <a:solidFill>
                  <a:srgbClr val="E900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e</a:t>
            </a:r>
          </a:p>
        </p:txBody>
      </p:sp>
      <p:pic>
        <p:nvPicPr>
          <p:cNvPr id="13" name="Picture 9" descr="Frame">
            <a:extLst>
              <a:ext uri="{FF2B5EF4-FFF2-40B4-BE49-F238E27FC236}">
                <a16:creationId xmlns:a16="http://schemas.microsoft.com/office/drawing/2014/main" id="{4A2703B9-B575-CC41-ADE4-1FAAC7A1E4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9730" y="352425"/>
            <a:ext cx="1253490" cy="219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8118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28">
          <p15:clr>
            <a:srgbClr val="FBAE40"/>
          </p15:clr>
        </p15:guide>
        <p15:guide id="4" pos="7150">
          <p15:clr>
            <a:srgbClr val="FBAE40"/>
          </p15:clr>
        </p15:guide>
        <p15:guide id="5" orient="horz" pos="360">
          <p15:clr>
            <a:srgbClr val="FBAE40"/>
          </p15:clr>
        </p15:guide>
        <p15:guide id="6" orient="horz" pos="3960">
          <p15:clr>
            <a:srgbClr val="FBAE40"/>
          </p15:clr>
        </p15:guide>
        <p15:guide id="7" orient="horz" pos="2352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9" descr="Frame">
            <a:extLst>
              <a:ext uri="{FF2B5EF4-FFF2-40B4-BE49-F238E27FC236}">
                <a16:creationId xmlns:a16="http://schemas.microsoft.com/office/drawing/2014/main" id="{02E32ABF-954C-2B41-BDC2-8F5795EC5E5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9730" y="352425"/>
            <a:ext cx="1253490" cy="219075"/>
          </a:xfrm>
          <a:prstGeom prst="rect">
            <a:avLst/>
          </a:prstGeom>
        </p:spPr>
      </p:pic>
      <p:sp>
        <p:nvSpPr>
          <p:cNvPr id="14" name="Text Placeholder 55">
            <a:extLst>
              <a:ext uri="{FF2B5EF4-FFF2-40B4-BE49-F238E27FC236}">
                <a16:creationId xmlns:a16="http://schemas.microsoft.com/office/drawing/2014/main" id="{72BE1150-7599-F341-92C3-A04933DFFD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54433" y="5076567"/>
            <a:ext cx="6190488" cy="56149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indent="0">
              <a:lnSpc>
                <a:spcPct val="100000"/>
              </a:lnSpc>
              <a:buNone/>
            </a:pPr>
            <a:r>
              <a:rPr lang="en-US" sz="1600" b="1">
                <a:solidFill>
                  <a:srgbClr val="E900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me, Title</a:t>
            </a:r>
            <a:br>
              <a:rPr lang="en-US" sz="1600" b="1">
                <a:solidFill>
                  <a:srgbClr val="E90029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600" b="1">
                <a:solidFill>
                  <a:srgbClr val="E900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e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DDA98C0A-C3E1-9045-AAAE-6F4892A3FD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53289" y="3191676"/>
            <a:ext cx="10515600" cy="1325563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48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old" panose="020B0704020202090204" charset="0"/>
                <a:cs typeface="Arial Bold" panose="020B070402020209020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solidFill>
                  <a:schemeClr val="bg1"/>
                </a:solidFill>
              </a:rPr>
              <a:t>Lorem ipsum dolor sit</a:t>
            </a:r>
            <a:br>
              <a:rPr lang="en-US">
                <a:solidFill>
                  <a:schemeClr val="bg1"/>
                </a:solidFill>
              </a:rPr>
            </a:br>
            <a:r>
              <a:rPr lang="en-US" err="1">
                <a:solidFill>
                  <a:schemeClr val="bg1"/>
                </a:solidFill>
              </a:rPr>
              <a:t>consect</a:t>
            </a:r>
            <a:r>
              <a:rPr lang="en-US">
                <a:solidFill>
                  <a:schemeClr val="bg1"/>
                </a:solidFill>
              </a:rPr>
              <a:t> </a:t>
            </a:r>
            <a:r>
              <a:rPr lang="en-US" err="1">
                <a:solidFill>
                  <a:schemeClr val="bg1"/>
                </a:solidFill>
              </a:rPr>
              <a:t>adipiscing</a:t>
            </a:r>
            <a:r>
              <a:rPr lang="en-US">
                <a:solidFill>
                  <a:schemeClr val="bg1"/>
                </a:solidFill>
              </a:rPr>
              <a:t>.</a:t>
            </a:r>
            <a:endParaRPr kumimoji="0" lang="en-US" sz="4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old" panose="020B0704020202090204" charset="0"/>
              <a:ea typeface="+mn-ea"/>
              <a:cs typeface="Arial Bold" panose="020B070402020209020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5134E77-08B8-9048-9E65-FC8F726903BF}"/>
              </a:ext>
            </a:extLst>
          </p:cNvPr>
          <p:cNvSpPr/>
          <p:nvPr userDrawn="1"/>
        </p:nvSpPr>
        <p:spPr>
          <a:xfrm>
            <a:off x="10948086" y="6054811"/>
            <a:ext cx="815546" cy="60548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39440303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28">
          <p15:clr>
            <a:srgbClr val="FBAE40"/>
          </p15:clr>
        </p15:guide>
        <p15:guide id="3" pos="3840">
          <p15:clr>
            <a:srgbClr val="FBAE40"/>
          </p15:clr>
        </p15:guide>
        <p15:guide id="4" pos="7152">
          <p15:clr>
            <a:srgbClr val="FBAE40"/>
          </p15:clr>
        </p15:guide>
        <p15:guide id="5" orient="horz" pos="360">
          <p15:clr>
            <a:srgbClr val="FBAE40"/>
          </p15:clr>
        </p15:guide>
        <p15:guide id="6" orient="horz" pos="3960">
          <p15:clr>
            <a:srgbClr val="FBAE40"/>
          </p15:clr>
        </p15:guide>
        <p15:guide id="7" orient="horz" pos="2352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lack with Waterm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9576FFF-E9F4-9A4F-A76D-C7C32F700137}"/>
              </a:ext>
            </a:extLst>
          </p:cNvPr>
          <p:cNvSpPr/>
          <p:nvPr userDrawn="1"/>
        </p:nvSpPr>
        <p:spPr>
          <a:xfrm>
            <a:off x="10948086" y="6054811"/>
            <a:ext cx="815546" cy="60548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err="1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8C1E1C3-4B8D-0E46-84F5-2CBBCB32F37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9" descr="Frame">
            <a:extLst>
              <a:ext uri="{FF2B5EF4-FFF2-40B4-BE49-F238E27FC236}">
                <a16:creationId xmlns:a16="http://schemas.microsoft.com/office/drawing/2014/main" id="{02E32ABF-954C-2B41-BDC2-8F5795EC5E5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29730" y="352425"/>
            <a:ext cx="1253490" cy="219075"/>
          </a:xfrm>
          <a:prstGeom prst="rect">
            <a:avLst/>
          </a:prstGeom>
        </p:spPr>
      </p:pic>
      <p:sp>
        <p:nvSpPr>
          <p:cNvPr id="14" name="Text Placeholder 55">
            <a:extLst>
              <a:ext uri="{FF2B5EF4-FFF2-40B4-BE49-F238E27FC236}">
                <a16:creationId xmlns:a16="http://schemas.microsoft.com/office/drawing/2014/main" id="{72BE1150-7599-F341-92C3-A04933DFFD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54433" y="5076567"/>
            <a:ext cx="6190488" cy="56149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indent="0">
              <a:lnSpc>
                <a:spcPct val="100000"/>
              </a:lnSpc>
              <a:buNone/>
            </a:pPr>
            <a:r>
              <a:rPr lang="en-US" sz="1600" b="1">
                <a:solidFill>
                  <a:srgbClr val="E900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me, Title</a:t>
            </a:r>
            <a:br>
              <a:rPr lang="en-US" sz="1600" b="1">
                <a:solidFill>
                  <a:srgbClr val="E90029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600" b="1">
                <a:solidFill>
                  <a:srgbClr val="E900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e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DDA98C0A-C3E1-9045-AAAE-6F4892A3FD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53289" y="3191676"/>
            <a:ext cx="10515600" cy="1325563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48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old" panose="020B0704020202090204" charset="0"/>
                <a:cs typeface="Arial Bold" panose="020B070402020209020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solidFill>
                  <a:schemeClr val="bg1"/>
                </a:solidFill>
              </a:rPr>
              <a:t>Lorem ipsum dolor sit</a:t>
            </a:r>
            <a:br>
              <a:rPr lang="en-US">
                <a:solidFill>
                  <a:schemeClr val="bg1"/>
                </a:solidFill>
              </a:rPr>
            </a:br>
            <a:r>
              <a:rPr lang="en-US" err="1">
                <a:solidFill>
                  <a:schemeClr val="bg1"/>
                </a:solidFill>
              </a:rPr>
              <a:t>consect</a:t>
            </a:r>
            <a:r>
              <a:rPr lang="en-US">
                <a:solidFill>
                  <a:schemeClr val="bg1"/>
                </a:solidFill>
              </a:rPr>
              <a:t> </a:t>
            </a:r>
            <a:r>
              <a:rPr lang="en-US" err="1">
                <a:solidFill>
                  <a:schemeClr val="bg1"/>
                </a:solidFill>
              </a:rPr>
              <a:t>adipiscing</a:t>
            </a:r>
            <a:r>
              <a:rPr lang="en-US">
                <a:solidFill>
                  <a:schemeClr val="bg1"/>
                </a:solidFill>
              </a:rPr>
              <a:t>.</a:t>
            </a:r>
            <a:endParaRPr kumimoji="0" lang="en-US" sz="4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old" panose="020B0704020202090204" charset="0"/>
              <a:ea typeface="+mn-ea"/>
              <a:cs typeface="Arial Bold" panose="020B070402020209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854082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28">
          <p15:clr>
            <a:srgbClr val="FBAE40"/>
          </p15:clr>
        </p15:guide>
        <p15:guide id="3" pos="3840">
          <p15:clr>
            <a:srgbClr val="FBAE40"/>
          </p15:clr>
        </p15:guide>
        <p15:guide id="4" pos="7152">
          <p15:clr>
            <a:srgbClr val="FBAE40"/>
          </p15:clr>
        </p15:guide>
        <p15:guide id="5" orient="horz" pos="360">
          <p15:clr>
            <a:srgbClr val="FBAE40"/>
          </p15:clr>
        </p15:guide>
        <p15:guide id="6" orient="horz" pos="3960">
          <p15:clr>
            <a:srgbClr val="FBAE40"/>
          </p15:clr>
        </p15:guide>
        <p15:guide id="7" orient="horz" pos="2352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av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" name="Picture 53">
            <a:extLst>
              <a:ext uri="{FF2B5EF4-FFF2-40B4-BE49-F238E27FC236}">
                <a16:creationId xmlns:a16="http://schemas.microsoft.com/office/drawing/2014/main" id="{367A8948-9A9A-C749-98E6-E03CD668733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4" name="Picture 18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B2ACA636-7711-1E45-B595-A50A28F1D56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>
          <a:xfrm>
            <a:off x="838200" y="352425"/>
            <a:ext cx="1243330" cy="219075"/>
          </a:xfrm>
          <a:prstGeom prst="rect">
            <a:avLst/>
          </a:prstGeom>
        </p:spPr>
      </p:pic>
      <p:sp>
        <p:nvSpPr>
          <p:cNvPr id="44" name="Title 1">
            <a:extLst>
              <a:ext uri="{FF2B5EF4-FFF2-40B4-BE49-F238E27FC236}">
                <a16:creationId xmlns:a16="http://schemas.microsoft.com/office/drawing/2014/main" id="{1892E4B3-6A67-8743-9A55-704CF219AD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51276" y="3191676"/>
            <a:ext cx="10515600" cy="1325563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8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>
                <a:solidFill>
                  <a:schemeClr val="tx1"/>
                </a:solidFill>
              </a:rPr>
              <a:t>Lorem ipsum dolor sit</a:t>
            </a:r>
            <a:br>
              <a:rPr lang="en-US">
                <a:solidFill>
                  <a:schemeClr val="tx1"/>
                </a:solidFill>
              </a:rPr>
            </a:br>
            <a:r>
              <a:rPr lang="en-US" err="1">
                <a:solidFill>
                  <a:schemeClr val="tx1"/>
                </a:solidFill>
              </a:rPr>
              <a:t>consect</a:t>
            </a:r>
            <a:r>
              <a:rPr lang="en-US">
                <a:solidFill>
                  <a:schemeClr val="tx1"/>
                </a:solidFill>
              </a:rPr>
              <a:t> </a:t>
            </a:r>
            <a:r>
              <a:rPr lang="en-US" err="1">
                <a:solidFill>
                  <a:schemeClr val="tx1"/>
                </a:solidFill>
              </a:rPr>
              <a:t>adipiscing</a:t>
            </a:r>
            <a:r>
              <a:rPr lang="en-US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8" name="Text Placeholder 55">
            <a:extLst>
              <a:ext uri="{FF2B5EF4-FFF2-40B4-BE49-F238E27FC236}">
                <a16:creationId xmlns:a16="http://schemas.microsoft.com/office/drawing/2014/main" id="{C019AF57-8294-7C4C-B419-5DDC88CF7A1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54434" y="5076567"/>
            <a:ext cx="6190428" cy="56149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indent="0">
              <a:lnSpc>
                <a:spcPct val="100000"/>
              </a:lnSpc>
              <a:buNone/>
            </a:pPr>
            <a:r>
              <a:rPr lang="en-US" sz="1600" b="1">
                <a:solidFill>
                  <a:srgbClr val="E900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me, Title</a:t>
            </a:r>
            <a:br>
              <a:rPr lang="en-US" sz="1600" b="1">
                <a:solidFill>
                  <a:srgbClr val="E90029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600" b="1">
                <a:solidFill>
                  <a:srgbClr val="E900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41827921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152" userDrawn="1">
          <p15:clr>
            <a:srgbClr val="FBAE40"/>
          </p15:clr>
        </p15:guide>
        <p15:guide id="3" pos="528" userDrawn="1">
          <p15:clr>
            <a:srgbClr val="FBAE40"/>
          </p15:clr>
        </p15:guide>
        <p15:guide id="4" pos="7152">
          <p15:clr>
            <a:srgbClr val="FBAE40"/>
          </p15:clr>
        </p15:guide>
        <p15:guide id="5" orient="horz" pos="3960">
          <p15:clr>
            <a:srgbClr val="FBAE40"/>
          </p15:clr>
        </p15:guide>
        <p15:guide id="6" orient="horz" pos="360">
          <p15:clr>
            <a:srgbClr val="FBAE40"/>
          </p15:clr>
        </p15:guide>
        <p15:guide id="7" orient="horz" pos="2352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>
            <a:extLst>
              <a:ext uri="{FF2B5EF4-FFF2-40B4-BE49-F238E27FC236}">
                <a16:creationId xmlns:a16="http://schemas.microsoft.com/office/drawing/2014/main" id="{16670A71-03FD-284C-90FD-84BB9921C10D}"/>
              </a:ext>
            </a:extLst>
          </p:cNvPr>
          <p:cNvSpPr txBox="1">
            <a:spLocks/>
          </p:cNvSpPr>
          <p:nvPr userDrawn="1"/>
        </p:nvSpPr>
        <p:spPr>
          <a:xfrm>
            <a:off x="6095999" y="1876526"/>
            <a:ext cx="5275730" cy="371589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kumimoji="0" lang="en-US" sz="24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Bold" panose="020B0704020202090204" charset="0"/>
                <a:ea typeface="+mj-ea"/>
                <a:cs typeface="Arial Bold" panose="020B0704020202090204" charset="0"/>
              </a:defRPr>
            </a:lvl1pPr>
          </a:lstStyle>
          <a:p>
            <a:pPr>
              <a:lnSpc>
                <a:spcPct val="90000"/>
              </a:lnSpc>
              <a:defRPr/>
            </a:pPr>
            <a:endParaRPr lang="en-US">
              <a:ea typeface="+mn-ea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0E50815-B951-FB4F-98C3-6F9C392933A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502141" y="1600200"/>
            <a:ext cx="4851659" cy="400875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50000"/>
              </a:lnSpc>
              <a:buNone/>
              <a:defRPr sz="32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7C3EAAB0-E5E4-274A-8E9C-BB2E1EC7A2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94944" y="1600200"/>
            <a:ext cx="4851659" cy="400875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50000"/>
              </a:lnSpc>
              <a:buNone/>
              <a:defRPr sz="32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6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85CFFAC5-B629-C048-8B4E-7EBD0F6B810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688803" y="6461276"/>
            <a:ext cx="927253" cy="163382"/>
          </a:xfrm>
          <a:prstGeom prst="rect">
            <a:avLst/>
          </a:prstGeom>
        </p:spPr>
      </p:pic>
      <p:sp>
        <p:nvSpPr>
          <p:cNvPr id="9" name="Title Placeholder 3">
            <a:extLst>
              <a:ext uri="{FF2B5EF4-FFF2-40B4-BE49-F238E27FC236}">
                <a16:creationId xmlns:a16="http://schemas.microsoft.com/office/drawing/2014/main" id="{C674C98B-3A1C-214D-812E-783315BEF8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548640"/>
            <a:ext cx="10515600" cy="369332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7BFBCB0-BCA1-4B2F-820E-516C6B7E422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Keysight Elastic Network Generator</a:t>
            </a:r>
          </a:p>
        </p:txBody>
      </p:sp>
    </p:spTree>
    <p:extLst>
      <p:ext uri="{BB962C8B-B14F-4D97-AF65-F5344CB8AC3E}">
        <p14:creationId xmlns:p14="http://schemas.microsoft.com/office/powerpoint/2010/main" val="16439895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480" userDrawn="1">
          <p15:clr>
            <a:srgbClr val="FBAE40"/>
          </p15:clr>
        </p15:guide>
        <p15:guide id="4" orient="horz" pos="3953">
          <p15:clr>
            <a:srgbClr val="FBAE40"/>
          </p15:clr>
        </p15:guide>
        <p15:guide id="5" pos="7152">
          <p15:clr>
            <a:srgbClr val="FBAE40"/>
          </p15:clr>
        </p15:guide>
        <p15:guide id="6" orient="horz" pos="600" userDrawn="1">
          <p15:clr>
            <a:srgbClr val="FBAE40"/>
          </p15:clr>
        </p15:guide>
        <p15:guide id="7" pos="432" userDrawn="1">
          <p15:clr>
            <a:srgbClr val="FBAE40"/>
          </p15:clr>
        </p15:guide>
        <p15:guide id="8" pos="4080" userDrawn="1">
          <p15:clr>
            <a:srgbClr val="FBAE40"/>
          </p15:clr>
        </p15:guide>
        <p15:guide id="9" orient="horz" pos="1008" userDrawn="1">
          <p15:clr>
            <a:srgbClr val="FBAE40"/>
          </p15:clr>
        </p15:guide>
        <p15:guide id="10" orient="horz" pos="3552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>
            <a:extLst>
              <a:ext uri="{FF2B5EF4-FFF2-40B4-BE49-F238E27FC236}">
                <a16:creationId xmlns:a16="http://schemas.microsoft.com/office/drawing/2014/main" id="{F012340C-D195-8E4C-BF9F-E32A7FCD6E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548640"/>
            <a:ext cx="1051560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9773789E-1482-4DF2-AC34-ED595BC86F6F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0648632" y="6458523"/>
            <a:ext cx="735822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862D98-B5C3-4BE4-8A34-4F5B36AB20BC}" type="slidenum">
              <a:rPr lang="en-US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lang="en-US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F9E4FCE-DA81-4C02-B05D-E78AD21EC9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455664"/>
            <a:ext cx="4114800" cy="1554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Keysight Elastic Network Generator</a:t>
            </a:r>
          </a:p>
        </p:txBody>
      </p:sp>
    </p:spTree>
    <p:extLst>
      <p:ext uri="{BB962C8B-B14F-4D97-AF65-F5344CB8AC3E}">
        <p14:creationId xmlns:p14="http://schemas.microsoft.com/office/powerpoint/2010/main" val="33623089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4" r:id="rId1"/>
    <p:sldLayoutId id="2147483834" r:id="rId2"/>
    <p:sldLayoutId id="2147483811" r:id="rId3"/>
    <p:sldLayoutId id="2147483812" r:id="rId4"/>
    <p:sldLayoutId id="2147483846" r:id="rId5"/>
    <p:sldLayoutId id="2147483847" r:id="rId6"/>
    <p:sldLayoutId id="2147483809" r:id="rId7"/>
    <p:sldLayoutId id="2147483810" r:id="rId8"/>
    <p:sldLayoutId id="2147483814" r:id="rId9"/>
    <p:sldLayoutId id="2147483815" r:id="rId10"/>
    <p:sldLayoutId id="2147483820" r:id="rId11"/>
    <p:sldLayoutId id="2147483821" r:id="rId12"/>
    <p:sldLayoutId id="2147483848" r:id="rId13"/>
    <p:sldLayoutId id="2147483822" r:id="rId14"/>
    <p:sldLayoutId id="2147483823" r:id="rId15"/>
    <p:sldLayoutId id="2147483825" r:id="rId16"/>
    <p:sldLayoutId id="2147483826" r:id="rId17"/>
    <p:sldLayoutId id="2147483827" r:id="rId18"/>
    <p:sldLayoutId id="2147483813" r:id="rId19"/>
    <p:sldLayoutId id="2147483828" r:id="rId20"/>
    <p:sldLayoutId id="2147483829" r:id="rId21"/>
    <p:sldLayoutId id="2147483830" r:id="rId22"/>
    <p:sldLayoutId id="2147483831" r:id="rId23"/>
    <p:sldLayoutId id="2147483832" r:id="rId24"/>
    <p:sldLayoutId id="2147483833" r:id="rId25"/>
    <p:sldLayoutId id="2147483824" r:id="rId26"/>
    <p:sldLayoutId id="2147483835" r:id="rId27"/>
    <p:sldLayoutId id="2147483836" r:id="rId28"/>
    <p:sldLayoutId id="2147483837" r:id="rId29"/>
    <p:sldLayoutId id="2147483845" r:id="rId30"/>
    <p:sldLayoutId id="2147483838" r:id="rId31"/>
    <p:sldLayoutId id="2147483839" r:id="rId32"/>
    <p:sldLayoutId id="2147483840" r:id="rId33"/>
    <p:sldLayoutId id="2147483841" r:id="rId34"/>
    <p:sldLayoutId id="2147483842" r:id="rId35"/>
    <p:sldLayoutId id="2147483843" r:id="rId36"/>
    <p:sldLayoutId id="2147483817" r:id="rId37"/>
    <p:sldLayoutId id="2147483816" r:id="rId38"/>
    <p:sldLayoutId id="2147483818" r:id="rId39"/>
    <p:sldLayoutId id="2147483819" r:id="rId40"/>
    <p:sldLayoutId id="2147483851" r:id="rId41"/>
    <p:sldLayoutId id="2147483853" r:id="rId42"/>
    <p:sldLayoutId id="2147483854" r:id="rId43"/>
  </p:sldLayoutIdLst>
  <p:hf sldNum="0"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10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Char char="•"/>
        <a:defRPr sz="20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1pPr>
      <a:lvl2pPr marL="365760" indent="-182880" algn="l" defTabSz="914400" rtl="0" eaLnBrk="1" latinLnBrk="0" hangingPunct="1">
        <a:lnSpc>
          <a:spcPct val="100000"/>
        </a:lnSpc>
        <a:spcBef>
          <a:spcPts val="200"/>
        </a:spcBef>
        <a:spcAft>
          <a:spcPts val="4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530352" indent="-164592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Arial" panose="020B0604020202020204" pitchFamily="34" charset="0"/>
        <a:buChar char="•"/>
        <a:defRPr sz="1600" kern="1200" spc="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687388" indent="-17145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Arial" panose="020B0604020202020204" pitchFamily="34" charset="0"/>
        <a:buChar char="•"/>
        <a:defRPr sz="1400" b="0" kern="1200" cap="none" spc="0" baseline="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858837" indent="-17145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rgbClr val="FF0000"/>
        </a:buClr>
        <a:buFont typeface="Arial" panose="020B0604020202020204" pitchFamily="34" charset="0"/>
        <a:buChar char="•"/>
        <a:defRPr lang="en-US" sz="1200" b="0" kern="1200" cap="none" spc="0" baseline="0" dirty="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​"/>
        <a:defRPr lang="en-US" sz="2000" b="0" i="0" kern="1200" cap="none" spc="60" baseline="0" dirty="0" smtClean="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​"/>
        <a:defRPr lang="en-US" sz="2000" b="0" i="0" kern="1200" cap="none" baseline="0" dirty="0" smtClean="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7pPr>
      <a:lvl8pPr marL="1588" indent="-1588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​"/>
        <a:defRPr lang="en-US" sz="2000" b="0" i="0" kern="1200" cap="none" baseline="0" dirty="0" smtClean="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8pPr>
      <a:lvl9pPr marL="1588" indent="-1588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​"/>
        <a:defRPr lang="en-US" sz="2000" b="0" i="0" kern="1200" cap="none" baseline="0" dirty="0" smtClean="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432" userDrawn="1">
          <p15:clr>
            <a:srgbClr val="F26B43"/>
          </p15:clr>
        </p15:guide>
        <p15:guide id="4" orient="horz" pos="52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hyperlink" Target="https://otg.dev/" TargetMode="Externa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hyperlink" Target="https://otg.dev/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7" Type="http://schemas.openxmlformats.org/officeDocument/2006/relationships/hyperlink" Target="https://otg.dev/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1.xml"/><Relationship Id="rId6" Type="http://schemas.openxmlformats.org/officeDocument/2006/relationships/image" Target="../media/image52.png"/><Relationship Id="rId5" Type="http://schemas.openxmlformats.org/officeDocument/2006/relationships/image" Target="../media/image51.png"/><Relationship Id="rId4" Type="http://schemas.openxmlformats.org/officeDocument/2006/relationships/image" Target="../media/image31.sv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3" Type="http://schemas.openxmlformats.org/officeDocument/2006/relationships/image" Target="../media/image54.svg"/><Relationship Id="rId7" Type="http://schemas.openxmlformats.org/officeDocument/2006/relationships/image" Target="../media/image58.sv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7.png"/><Relationship Id="rId11" Type="http://schemas.openxmlformats.org/officeDocument/2006/relationships/image" Target="../media/image62.svg"/><Relationship Id="rId5" Type="http://schemas.openxmlformats.org/officeDocument/2006/relationships/image" Target="../media/image56.svg"/><Relationship Id="rId10" Type="http://schemas.openxmlformats.org/officeDocument/2006/relationships/image" Target="../media/image61.png"/><Relationship Id="rId4" Type="http://schemas.openxmlformats.org/officeDocument/2006/relationships/image" Target="../media/image55.png"/><Relationship Id="rId9" Type="http://schemas.openxmlformats.org/officeDocument/2006/relationships/image" Target="../media/image60.sv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svg"/><Relationship Id="rId3" Type="http://schemas.openxmlformats.org/officeDocument/2006/relationships/image" Target="../media/image65.png"/><Relationship Id="rId7" Type="http://schemas.openxmlformats.org/officeDocument/2006/relationships/image" Target="../media/image6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9.xml"/><Relationship Id="rId6" Type="http://schemas.openxmlformats.org/officeDocument/2006/relationships/image" Target="../media/image31.svg"/><Relationship Id="rId5" Type="http://schemas.openxmlformats.org/officeDocument/2006/relationships/image" Target="../media/image30.png"/><Relationship Id="rId4" Type="http://schemas.openxmlformats.org/officeDocument/2006/relationships/image" Target="../media/image66.svg"/><Relationship Id="rId9" Type="http://schemas.openxmlformats.org/officeDocument/2006/relationships/image" Target="../media/image69.sv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hyperlink" Target="https://github.com/open-traffic-generator/otg-examples/blob/main/clab/ixia-c-b2b-lag" TargetMode="External"/><Relationship Id="rId3" Type="http://schemas.openxmlformats.org/officeDocument/2006/relationships/hyperlink" Target="https://github.com/open-traffic-generator" TargetMode="External"/><Relationship Id="rId7" Type="http://schemas.openxmlformats.org/officeDocument/2006/relationships/hyperlink" Target="https://github.com/open-traffic-generator/otg-examples/blob/main/docker-compose/b2b" TargetMode="External"/><Relationship Id="rId2" Type="http://schemas.openxmlformats.org/officeDocument/2006/relationships/hyperlink" Target="https://ixia-c.dev/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github.com/open-traffic-generator/conformance" TargetMode="External"/><Relationship Id="rId11" Type="http://schemas.openxmlformats.org/officeDocument/2006/relationships/image" Target="../media/image70.png"/><Relationship Id="rId5" Type="http://schemas.openxmlformats.org/officeDocument/2006/relationships/hyperlink" Target="https://github.com/open-traffic-generator/otg-examples" TargetMode="External"/><Relationship Id="rId10" Type="http://schemas.openxmlformats.org/officeDocument/2006/relationships/hyperlink" Target="https://join.slack.com/t/ixia-c/shared_invite/zt-2p11e5yua-u3o1aWzlJcjJquSAqoDk2Q" TargetMode="External"/><Relationship Id="rId4" Type="http://schemas.openxmlformats.org/officeDocument/2006/relationships/hyperlink" Target="https://github.com/open-traffic-generator/ac2-workshop" TargetMode="External"/><Relationship Id="rId9" Type="http://schemas.openxmlformats.org/officeDocument/2006/relationships/hyperlink" Target="https://github.com/open-traffic-generator/otg-examples/blob/main/hw/ixhw-b2b" TargetMode="Externa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6.svg"/><Relationship Id="rId3" Type="http://schemas.openxmlformats.org/officeDocument/2006/relationships/image" Target="../media/image71.png"/><Relationship Id="rId7" Type="http://schemas.openxmlformats.org/officeDocument/2006/relationships/image" Target="../media/image7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74.svg"/><Relationship Id="rId5" Type="http://schemas.openxmlformats.org/officeDocument/2006/relationships/image" Target="../media/image73.png"/><Relationship Id="rId10" Type="http://schemas.openxmlformats.org/officeDocument/2006/relationships/image" Target="../media/image78.svg"/><Relationship Id="rId4" Type="http://schemas.openxmlformats.org/officeDocument/2006/relationships/image" Target="../media/image72.svg"/><Relationship Id="rId9" Type="http://schemas.openxmlformats.org/officeDocument/2006/relationships/image" Target="../media/image77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3" Type="http://schemas.openxmlformats.org/officeDocument/2006/relationships/image" Target="../media/image18.png"/><Relationship Id="rId7" Type="http://schemas.openxmlformats.org/officeDocument/2006/relationships/image" Target="../media/image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7" Type="http://schemas.openxmlformats.org/officeDocument/2006/relationships/image" Target="../media/image84.png"/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83.png"/><Relationship Id="rId5" Type="http://schemas.openxmlformats.org/officeDocument/2006/relationships/image" Target="../media/image82.png"/><Relationship Id="rId4" Type="http://schemas.openxmlformats.org/officeDocument/2006/relationships/image" Target="../media/image81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0.png"/><Relationship Id="rId3" Type="http://schemas.openxmlformats.org/officeDocument/2006/relationships/image" Target="../media/image85.png"/><Relationship Id="rId7" Type="http://schemas.openxmlformats.org/officeDocument/2006/relationships/image" Target="../media/image89.png"/><Relationship Id="rId12" Type="http://schemas.openxmlformats.org/officeDocument/2006/relationships/image" Target="../media/image9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8.svg"/><Relationship Id="rId11" Type="http://schemas.openxmlformats.org/officeDocument/2006/relationships/image" Target="../media/image93.png"/><Relationship Id="rId5" Type="http://schemas.openxmlformats.org/officeDocument/2006/relationships/image" Target="../media/image87.png"/><Relationship Id="rId10" Type="http://schemas.openxmlformats.org/officeDocument/2006/relationships/image" Target="../media/image92.png"/><Relationship Id="rId4" Type="http://schemas.openxmlformats.org/officeDocument/2006/relationships/image" Target="../media/image86.svg"/><Relationship Id="rId9" Type="http://schemas.openxmlformats.org/officeDocument/2006/relationships/image" Target="../media/image9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7" Type="http://schemas.openxmlformats.org/officeDocument/2006/relationships/image" Target="../media/image27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3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4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39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13" Type="http://schemas.openxmlformats.org/officeDocument/2006/relationships/diagramColors" Target="../diagrams/colors1.xml"/><Relationship Id="rId3" Type="http://schemas.openxmlformats.org/officeDocument/2006/relationships/image" Target="../media/image30.png"/><Relationship Id="rId7" Type="http://schemas.openxmlformats.org/officeDocument/2006/relationships/image" Target="../media/image34.svg"/><Relationship Id="rId12" Type="http://schemas.openxmlformats.org/officeDocument/2006/relationships/diagramQuickStyle" Target="../diagrams/quickStyle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2.xml"/><Relationship Id="rId6" Type="http://schemas.openxmlformats.org/officeDocument/2006/relationships/image" Target="../media/image33.png"/><Relationship Id="rId11" Type="http://schemas.openxmlformats.org/officeDocument/2006/relationships/diagramLayout" Target="../diagrams/layout1.xml"/><Relationship Id="rId5" Type="http://schemas.openxmlformats.org/officeDocument/2006/relationships/image" Target="../media/image32.png"/><Relationship Id="rId10" Type="http://schemas.openxmlformats.org/officeDocument/2006/relationships/diagramData" Target="../diagrams/data1.xml"/><Relationship Id="rId4" Type="http://schemas.openxmlformats.org/officeDocument/2006/relationships/image" Target="../media/image31.svg"/><Relationship Id="rId9" Type="http://schemas.openxmlformats.org/officeDocument/2006/relationships/image" Target="../media/image36.svg"/><Relationship Id="rId14" Type="http://schemas.microsoft.com/office/2007/relationships/diagramDrawing" Target="../diagrams/drawing1.xml"/></Relationships>
</file>

<file path=ppt/slides/_rels/slide7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13" Type="http://schemas.openxmlformats.org/officeDocument/2006/relationships/image" Target="../media/image41.png"/><Relationship Id="rId3" Type="http://schemas.openxmlformats.org/officeDocument/2006/relationships/image" Target="../media/image31.svg"/><Relationship Id="rId7" Type="http://schemas.openxmlformats.org/officeDocument/2006/relationships/diagramColors" Target="../diagrams/colors2.xml"/><Relationship Id="rId12" Type="http://schemas.openxmlformats.org/officeDocument/2006/relationships/image" Target="../media/image40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3.xml"/><Relationship Id="rId6" Type="http://schemas.openxmlformats.org/officeDocument/2006/relationships/diagramQuickStyle" Target="../diagrams/quickStyle2.xml"/><Relationship Id="rId11" Type="http://schemas.openxmlformats.org/officeDocument/2006/relationships/image" Target="../media/image39.png"/><Relationship Id="rId5" Type="http://schemas.openxmlformats.org/officeDocument/2006/relationships/diagramLayout" Target="../diagrams/layout2.xml"/><Relationship Id="rId10" Type="http://schemas.openxmlformats.org/officeDocument/2006/relationships/image" Target="../media/image38.png"/><Relationship Id="rId4" Type="http://schemas.openxmlformats.org/officeDocument/2006/relationships/diagramData" Target="../diagrams/data2.xml"/><Relationship Id="rId9" Type="http://schemas.openxmlformats.org/officeDocument/2006/relationships/image" Target="../media/image37.png"/><Relationship Id="rId14" Type="http://schemas.openxmlformats.org/officeDocument/2006/relationships/image" Target="../media/image42.sv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7" Type="http://schemas.openxmlformats.org/officeDocument/2006/relationships/hyperlink" Target="https://ixia-c.dev/" TargetMode="External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41.xml"/><Relationship Id="rId6" Type="http://schemas.openxmlformats.org/officeDocument/2006/relationships/image" Target="../media/image47.png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4925AEDF-1ACC-E514-2888-AF1605E5109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DDD2B68-08EB-C34B-B999-7F89E339E23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AutoCon4 WS:A4</a:t>
            </a:r>
          </a:p>
          <a:p>
            <a:r>
              <a:rPr lang="en-US" dirty="0"/>
              <a:t>Austin, November 17, 2025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5DF9F55-CACE-6B48-B921-6311F1F5F3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4433" y="2347108"/>
            <a:ext cx="7811026" cy="2163783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en-US" b="0" dirty="0"/>
              <a:t>Open Tools for Automated and Scalable Network Testing</a:t>
            </a:r>
            <a:endParaRPr lang="en-US" dirty="0"/>
          </a:p>
        </p:txBody>
      </p:sp>
      <p:pic>
        <p:nvPicPr>
          <p:cNvPr id="5" name="Picture 9" descr="Frame">
            <a:extLst>
              <a:ext uri="{FF2B5EF4-FFF2-40B4-BE49-F238E27FC236}">
                <a16:creationId xmlns:a16="http://schemas.microsoft.com/office/drawing/2014/main" id="{E99CC0FD-6153-B3A0-D00E-16D34E853ED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29730" y="352425"/>
            <a:ext cx="1253490" cy="219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6749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9513342-F32B-4905-D8D8-D8DF1FFEE9B7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r>
              <a:rPr lang="en-US">
                <a:solidFill>
                  <a:srgbClr val="0432FF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otg.dev</a:t>
            </a:r>
            <a:r>
              <a:rPr lang="en-US">
                <a:solidFill>
                  <a:srgbClr val="0432FF"/>
                </a:solidFill>
              </a:rPr>
              <a:t>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42FDA6F-71C5-61BF-2B65-D546312DA2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hat – OTG Mod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A34101B-21E9-D2B5-D736-A9D4DCB097ED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Keysight Elastic Network Generator</a:t>
            </a:r>
          </a:p>
        </p:txBody>
      </p:sp>
      <p:pic>
        <p:nvPicPr>
          <p:cNvPr id="9" name="Picture 8" descr="Diagram&#10;&#10;Description automatically generated">
            <a:extLst>
              <a:ext uri="{FF2B5EF4-FFF2-40B4-BE49-F238E27FC236}">
                <a16:creationId xmlns:a16="http://schemas.microsoft.com/office/drawing/2014/main" id="{24AC9440-AD81-F63E-8781-EDBA8FB6C39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2009" y="1337506"/>
            <a:ext cx="8407981" cy="38100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06723A9-DB4E-6334-1192-E9CC0FF9D20F}"/>
              </a:ext>
            </a:extLst>
          </p:cNvPr>
          <p:cNvSpPr txBox="1"/>
          <p:nvPr/>
        </p:nvSpPr>
        <p:spPr>
          <a:xfrm>
            <a:off x="4914899" y="5351047"/>
            <a:ext cx="2362200" cy="33889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600" b="1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TG L2-3 Model Hierarchy</a:t>
            </a:r>
          </a:p>
        </p:txBody>
      </p:sp>
    </p:spTree>
    <p:extLst>
      <p:ext uri="{BB962C8B-B14F-4D97-AF65-F5344CB8AC3E}">
        <p14:creationId xmlns:p14="http://schemas.microsoft.com/office/powerpoint/2010/main" val="139083968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9513342-F32B-4905-D8D8-D8DF1FFEE9B7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r>
              <a:rPr lang="en-US">
                <a:solidFill>
                  <a:srgbClr val="0432FF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otg.dev</a:t>
            </a:r>
            <a:r>
              <a:rPr lang="en-US">
                <a:solidFill>
                  <a:srgbClr val="0432FF"/>
                </a:solidFill>
              </a:rPr>
              <a:t>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42FDA6F-71C5-61BF-2B65-D546312DA2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hat – OTG API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A34101B-21E9-D2B5-D736-A9D4DCB097ED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Keysight Elastic Network Generator</a:t>
            </a:r>
          </a:p>
        </p:txBody>
      </p:sp>
      <p:pic>
        <p:nvPicPr>
          <p:cNvPr id="7" name="Picture 6" descr="Diagram&#10;&#10;Description automatically generated">
            <a:extLst>
              <a:ext uri="{FF2B5EF4-FFF2-40B4-BE49-F238E27FC236}">
                <a16:creationId xmlns:a16="http://schemas.microsoft.com/office/drawing/2014/main" id="{EA91019B-21D8-B493-10CA-7B127ADF70F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86400" y="1983756"/>
            <a:ext cx="6219837" cy="2499360"/>
          </a:xfrm>
          <a:prstGeom prst="rect">
            <a:avLst/>
          </a:prstGeom>
        </p:spPr>
      </p:pic>
      <p:pic>
        <p:nvPicPr>
          <p:cNvPr id="12" name="Picture 11" descr="Diagram&#10;&#10;Description automatically generated">
            <a:extLst>
              <a:ext uri="{FF2B5EF4-FFF2-40B4-BE49-F238E27FC236}">
                <a16:creationId xmlns:a16="http://schemas.microsoft.com/office/drawing/2014/main" id="{9BADFE9D-E8CA-D23E-BF1E-259E8064F95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1676400"/>
            <a:ext cx="4326246" cy="4120724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181B0A73-5CC7-C279-4C7F-AAA0EE4B0F8C}"/>
              </a:ext>
            </a:extLst>
          </p:cNvPr>
          <p:cNvSpPr txBox="1"/>
          <p:nvPr/>
        </p:nvSpPr>
        <p:spPr>
          <a:xfrm>
            <a:off x="1591623" y="5787500"/>
            <a:ext cx="2362200" cy="33889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600" b="1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TG API Surfac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753F11F-CDB3-DB24-D2A5-492D57BCA471}"/>
              </a:ext>
            </a:extLst>
          </p:cNvPr>
          <p:cNvSpPr txBox="1"/>
          <p:nvPr/>
        </p:nvSpPr>
        <p:spPr>
          <a:xfrm>
            <a:off x="7415218" y="4765179"/>
            <a:ext cx="2362200" cy="11917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600" b="1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TG L2-3 Compon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st Por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mulated Devic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raffic Flows</a:t>
            </a:r>
          </a:p>
        </p:txBody>
      </p:sp>
    </p:spTree>
    <p:extLst>
      <p:ext uri="{BB962C8B-B14F-4D97-AF65-F5344CB8AC3E}">
        <p14:creationId xmlns:p14="http://schemas.microsoft.com/office/powerpoint/2010/main" val="46217932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7" name="Group 46">
            <a:extLst>
              <a:ext uri="{FF2B5EF4-FFF2-40B4-BE49-F238E27FC236}">
                <a16:creationId xmlns:a16="http://schemas.microsoft.com/office/drawing/2014/main" id="{72C9CF63-F070-4BEB-823C-D5250E901DC3}"/>
              </a:ext>
            </a:extLst>
          </p:cNvPr>
          <p:cNvGrpSpPr/>
          <p:nvPr/>
        </p:nvGrpSpPr>
        <p:grpSpPr>
          <a:xfrm>
            <a:off x="6300000" y="4320000"/>
            <a:ext cx="1440000" cy="1440000"/>
            <a:chOff x="6120000" y="1621438"/>
            <a:chExt cx="1440000" cy="2160000"/>
          </a:xfrm>
        </p:grpSpPr>
        <p:sp>
          <p:nvSpPr>
            <p:cNvPr id="48" name="Rounded Rectangle 8">
              <a:extLst>
                <a:ext uri="{FF2B5EF4-FFF2-40B4-BE49-F238E27FC236}">
                  <a16:creationId xmlns:a16="http://schemas.microsoft.com/office/drawing/2014/main" id="{6C7337F5-DE22-4B5D-A397-C32BF413D25C}"/>
                </a:ext>
              </a:extLst>
            </p:cNvPr>
            <p:cNvSpPr/>
            <p:nvPr/>
          </p:nvSpPr>
          <p:spPr>
            <a:xfrm>
              <a:off x="6120000" y="1621438"/>
              <a:ext cx="1440000" cy="2160000"/>
            </a:xfrm>
            <a:prstGeom prst="roundRect">
              <a:avLst/>
            </a:prstGeom>
            <a:ln w="19050">
              <a:solidFill>
                <a:schemeClr val="tx1">
                  <a:lumMod val="75000"/>
                  <a:lumOff val="25000"/>
                </a:schemeClr>
              </a:solidFill>
            </a:ln>
            <a:effectLst>
              <a:outerShdw blurRad="63500" dist="63500" dir="2700000" algn="tl" rotWithShape="0">
                <a:schemeClr val="tx1">
                  <a:lumMod val="75000"/>
                  <a:lumOff val="25000"/>
                  <a:alpha val="5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003">
              <a:schemeClr val="l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chemeClr val="accent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Test Scripts</a:t>
              </a:r>
            </a:p>
          </p:txBody>
        </p: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C1FCE4A4-B6EB-4406-8E56-1FA6F70B59F8}"/>
                </a:ext>
              </a:extLst>
            </p:cNvPr>
            <p:cNvCxnSpPr/>
            <p:nvPr/>
          </p:nvCxnSpPr>
          <p:spPr>
            <a:xfrm>
              <a:off x="6120000" y="2160000"/>
              <a:ext cx="1440000" cy="0"/>
            </a:xfrm>
            <a:prstGeom prst="line">
              <a:avLst/>
            </a:prstGeom>
            <a:ln w="19050">
              <a:solidFill>
                <a:schemeClr val="tx1">
                  <a:lumMod val="75000"/>
                  <a:lumOff val="2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003">
              <a:schemeClr val="l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65C7CEE3-6130-4637-B225-57204FD0DA15}"/>
              </a:ext>
            </a:extLst>
          </p:cNvPr>
          <p:cNvGrpSpPr/>
          <p:nvPr/>
        </p:nvGrpSpPr>
        <p:grpSpPr>
          <a:xfrm>
            <a:off x="6300000" y="2160000"/>
            <a:ext cx="1440000" cy="1440000"/>
            <a:chOff x="6120000" y="1621438"/>
            <a:chExt cx="1440000" cy="2160000"/>
          </a:xfrm>
        </p:grpSpPr>
        <p:sp>
          <p:nvSpPr>
            <p:cNvPr id="42" name="Rounded Rectangle 8">
              <a:extLst>
                <a:ext uri="{FF2B5EF4-FFF2-40B4-BE49-F238E27FC236}">
                  <a16:creationId xmlns:a16="http://schemas.microsoft.com/office/drawing/2014/main" id="{D04FC840-F22D-4E45-A50E-494952BD2C66}"/>
                </a:ext>
              </a:extLst>
            </p:cNvPr>
            <p:cNvSpPr/>
            <p:nvPr/>
          </p:nvSpPr>
          <p:spPr>
            <a:xfrm>
              <a:off x="6120000" y="1621438"/>
              <a:ext cx="1440000" cy="2160000"/>
            </a:xfrm>
            <a:prstGeom prst="roundRect">
              <a:avLst/>
            </a:prstGeom>
            <a:ln w="19050">
              <a:solidFill>
                <a:schemeClr val="tx1">
                  <a:lumMod val="75000"/>
                  <a:lumOff val="25000"/>
                </a:schemeClr>
              </a:solidFill>
            </a:ln>
            <a:effectLst>
              <a:outerShdw blurRad="63500" dist="63500" dir="2700000" algn="tl" rotWithShape="0">
                <a:schemeClr val="tx1">
                  <a:lumMod val="75000"/>
                  <a:lumOff val="25000"/>
                  <a:alpha val="5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003">
              <a:schemeClr val="l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chemeClr val="accent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Test Scripts</a:t>
              </a:r>
            </a:p>
          </p:txBody>
        </p: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2063F7EB-2383-4DA1-B040-667D3A276895}"/>
                </a:ext>
              </a:extLst>
            </p:cNvPr>
            <p:cNvCxnSpPr/>
            <p:nvPr/>
          </p:nvCxnSpPr>
          <p:spPr>
            <a:xfrm>
              <a:off x="6120000" y="2160000"/>
              <a:ext cx="1440000" cy="0"/>
            </a:xfrm>
            <a:prstGeom prst="line">
              <a:avLst/>
            </a:prstGeom>
            <a:ln w="19050">
              <a:solidFill>
                <a:schemeClr val="tx1">
                  <a:lumMod val="75000"/>
                  <a:lumOff val="2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003">
              <a:schemeClr val="l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40" name="TextBox 39">
            <a:extLst>
              <a:ext uri="{FF2B5EF4-FFF2-40B4-BE49-F238E27FC236}">
                <a16:creationId xmlns:a16="http://schemas.microsoft.com/office/drawing/2014/main" id="{5D836D89-2988-465F-8CA3-D87644C66828}"/>
              </a:ext>
            </a:extLst>
          </p:cNvPr>
          <p:cNvSpPr txBox="1"/>
          <p:nvPr/>
        </p:nvSpPr>
        <p:spPr>
          <a:xfrm>
            <a:off x="6120000" y="1080000"/>
            <a:ext cx="1440000" cy="720000"/>
          </a:xfrm>
          <a:prstGeom prst="rect">
            <a:avLst/>
          </a:prstGeom>
          <a:noFill/>
        </p:spPr>
        <p:txBody>
          <a:bodyPr wrap="square" lIns="36000" tIns="36000" rIns="36000" bIns="36000" rtlCol="0" anchor="t" anchorCtr="1">
            <a:noAutofit/>
          </a:bodyPr>
          <a:lstStyle/>
          <a:p>
            <a:pPr algn="ctr"/>
            <a:r>
              <a:rPr lang="en-US" sz="1400" b="1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st Scripts</a:t>
            </a:r>
          </a:p>
          <a:p>
            <a:pPr algn="ctr"/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user developed)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CE26792-8AC7-CA4B-B320-C6D40F2088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Open Traffic Generator API</a:t>
            </a: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B1A150A5-834A-AC44-9699-3BEE1A76F0EC}"/>
              </a:ext>
            </a:extLst>
          </p:cNvPr>
          <p:cNvSpPr/>
          <p:nvPr/>
        </p:nvSpPr>
        <p:spPr>
          <a:xfrm>
            <a:off x="360000" y="3240000"/>
            <a:ext cx="2160000" cy="1080000"/>
          </a:xfrm>
          <a:prstGeom prst="roundRect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</a:ln>
          <a:effectLst>
            <a:outerShdw blurRad="63500" dist="63500" dir="2700000" algn="tl" rotWithShape="0">
              <a:schemeClr val="tx1">
                <a:lumMod val="75000"/>
                <a:lumOff val="25000"/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003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pen Traffic Generator</a:t>
            </a:r>
          </a:p>
          <a:p>
            <a:pPr algn="ctr"/>
            <a:r>
              <a:rPr lang="en-US" sz="1400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ta Models</a:t>
            </a:r>
          </a:p>
          <a:p>
            <a:pPr algn="ctr"/>
            <a:r>
              <a:rPr lang="en-US" sz="1400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GitHub)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2D20C9E0-43E3-6E4D-AF09-514853B2EA84}"/>
              </a:ext>
            </a:extLst>
          </p:cNvPr>
          <p:cNvSpPr/>
          <p:nvPr/>
        </p:nvSpPr>
        <p:spPr>
          <a:xfrm>
            <a:off x="3240000" y="2160000"/>
            <a:ext cx="2160000" cy="1080000"/>
          </a:xfrm>
          <a:prstGeom prst="roundRect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</a:ln>
          <a:effectLst>
            <a:outerShdw blurRad="63500" dist="63500" dir="2700000" algn="tl" rotWithShape="0">
              <a:schemeClr val="tx1">
                <a:lumMod val="75000"/>
                <a:lumOff val="25000"/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003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nappi / </a:t>
            </a:r>
            <a:r>
              <a:rPr lang="en-US" sz="1400" b="1" dirty="0" err="1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osnappi</a:t>
            </a:r>
            <a:br>
              <a:rPr lang="en-US" sz="1400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400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ython / Go Package</a:t>
            </a:r>
          </a:p>
          <a:p>
            <a:pPr algn="ctr"/>
            <a:r>
              <a:rPr lang="en-US" sz="1400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GitHub / </a:t>
            </a:r>
            <a:r>
              <a:rPr lang="en-US" sz="1400" dirty="0" err="1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yPI</a:t>
            </a:r>
            <a:r>
              <a:rPr lang="en-US" sz="1400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DE95501A-8CF5-DB4E-B2A1-88C769CC4866}"/>
              </a:ext>
            </a:extLst>
          </p:cNvPr>
          <p:cNvSpPr/>
          <p:nvPr/>
        </p:nvSpPr>
        <p:spPr>
          <a:xfrm>
            <a:off x="3240000" y="4320000"/>
            <a:ext cx="2160000" cy="1080000"/>
          </a:xfrm>
          <a:prstGeom prst="roundRect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</a:ln>
          <a:effectLst>
            <a:outerShdw blurRad="63500" dist="63500" dir="2700000" algn="tl" rotWithShape="0">
              <a:schemeClr val="tx1">
                <a:lumMod val="75000"/>
                <a:lumOff val="25000"/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003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avaScript, C#, …</a:t>
            </a:r>
          </a:p>
          <a:p>
            <a:pPr algn="ctr"/>
            <a:r>
              <a:rPr lang="en-US" sz="140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lient SDK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517BAFE-2D8C-DC4D-A448-F3E2F61E498A}"/>
              </a:ext>
            </a:extLst>
          </p:cNvPr>
          <p:cNvCxnSpPr/>
          <p:nvPr/>
        </p:nvCxnSpPr>
        <p:spPr>
          <a:xfrm>
            <a:off x="2880000" y="1080000"/>
            <a:ext cx="0" cy="5400000"/>
          </a:xfrm>
          <a:prstGeom prst="line">
            <a:avLst/>
          </a:prstGeom>
          <a:ln w="1905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CCF8507-C924-4D4E-B2BD-68CB05542803}"/>
              </a:ext>
            </a:extLst>
          </p:cNvPr>
          <p:cNvCxnSpPr/>
          <p:nvPr/>
        </p:nvCxnSpPr>
        <p:spPr>
          <a:xfrm>
            <a:off x="5760000" y="1080000"/>
            <a:ext cx="0" cy="5400000"/>
          </a:xfrm>
          <a:prstGeom prst="line">
            <a:avLst/>
          </a:prstGeom>
          <a:ln w="1905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BC8ECA05-D996-9043-9A29-3CD580BDA447}"/>
              </a:ext>
            </a:extLst>
          </p:cNvPr>
          <p:cNvSpPr txBox="1"/>
          <p:nvPr/>
        </p:nvSpPr>
        <p:spPr>
          <a:xfrm>
            <a:off x="360000" y="1080000"/>
            <a:ext cx="2160000" cy="720000"/>
          </a:xfrm>
          <a:prstGeom prst="rect">
            <a:avLst/>
          </a:prstGeom>
          <a:noFill/>
        </p:spPr>
        <p:txBody>
          <a:bodyPr wrap="square" lIns="36000" tIns="36000" rIns="36000" bIns="36000" rtlCol="0" anchor="t" anchorCtr="1">
            <a:noAutofit/>
          </a:bodyPr>
          <a:lstStyle/>
          <a:p>
            <a:pPr algn="ctr"/>
            <a:r>
              <a:rPr lang="en-US" sz="1400" b="1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ta Model / OpenAPIv3</a:t>
            </a:r>
          </a:p>
          <a:p>
            <a:pPr algn="ctr"/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source of truth)</a:t>
            </a: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87D4DFD4-7C9B-8343-BA8E-96563B1C0265}"/>
              </a:ext>
            </a:extLst>
          </p:cNvPr>
          <p:cNvCxnSpPr>
            <a:stCxn id="6" idx="3"/>
            <a:endCxn id="7" idx="1"/>
          </p:cNvCxnSpPr>
          <p:nvPr/>
        </p:nvCxnSpPr>
        <p:spPr>
          <a:xfrm flipV="1">
            <a:off x="2520000" y="2700000"/>
            <a:ext cx="720000" cy="1080000"/>
          </a:xfrm>
          <a:prstGeom prst="straightConnector1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C7212381-30AB-CF4C-BFF9-7293FE3DE8DB}"/>
              </a:ext>
            </a:extLst>
          </p:cNvPr>
          <p:cNvCxnSpPr>
            <a:cxnSpLocks/>
            <a:stCxn id="6" idx="3"/>
            <a:endCxn id="8" idx="1"/>
          </p:cNvCxnSpPr>
          <p:nvPr/>
        </p:nvCxnSpPr>
        <p:spPr>
          <a:xfrm>
            <a:off x="2520000" y="3780000"/>
            <a:ext cx="720000" cy="1080000"/>
          </a:xfrm>
          <a:prstGeom prst="straightConnector1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775E7582-244D-5549-BD7E-03980D617964}"/>
              </a:ext>
            </a:extLst>
          </p:cNvPr>
          <p:cNvCxnSpPr>
            <a:stCxn id="7" idx="3"/>
            <a:endCxn id="9" idx="1"/>
          </p:cNvCxnSpPr>
          <p:nvPr/>
        </p:nvCxnSpPr>
        <p:spPr>
          <a:xfrm>
            <a:off x="5400000" y="2700000"/>
            <a:ext cx="720000" cy="0"/>
          </a:xfrm>
          <a:prstGeom prst="straightConnector1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9E70EF1B-7BCE-7C4B-9256-2923A7AD5994}"/>
              </a:ext>
            </a:extLst>
          </p:cNvPr>
          <p:cNvCxnSpPr>
            <a:cxnSpLocks/>
            <a:stCxn id="8" idx="3"/>
            <a:endCxn id="45" idx="1"/>
          </p:cNvCxnSpPr>
          <p:nvPr/>
        </p:nvCxnSpPr>
        <p:spPr>
          <a:xfrm>
            <a:off x="5400000" y="4860000"/>
            <a:ext cx="720000" cy="0"/>
          </a:xfrm>
          <a:prstGeom prst="straightConnector1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oup 15">
            <a:extLst>
              <a:ext uri="{FF2B5EF4-FFF2-40B4-BE49-F238E27FC236}">
                <a16:creationId xmlns:a16="http://schemas.microsoft.com/office/drawing/2014/main" id="{C897E678-C46F-47CA-A2A6-057939C48D6E}"/>
              </a:ext>
            </a:extLst>
          </p:cNvPr>
          <p:cNvGrpSpPr/>
          <p:nvPr/>
        </p:nvGrpSpPr>
        <p:grpSpPr>
          <a:xfrm>
            <a:off x="6120000" y="1980000"/>
            <a:ext cx="1440000" cy="1440000"/>
            <a:chOff x="6120000" y="1621438"/>
            <a:chExt cx="1440000" cy="2160000"/>
          </a:xfrm>
        </p:grpSpPr>
        <p:sp>
          <p:nvSpPr>
            <p:cNvPr id="9" name="Rounded Rectangle 8">
              <a:extLst>
                <a:ext uri="{FF2B5EF4-FFF2-40B4-BE49-F238E27FC236}">
                  <a16:creationId xmlns:a16="http://schemas.microsoft.com/office/drawing/2014/main" id="{92E442EF-4468-5745-BD0E-04C697ACCFD8}"/>
                </a:ext>
              </a:extLst>
            </p:cNvPr>
            <p:cNvSpPr/>
            <p:nvPr/>
          </p:nvSpPr>
          <p:spPr>
            <a:xfrm>
              <a:off x="6120000" y="1621438"/>
              <a:ext cx="1440000" cy="2160000"/>
            </a:xfrm>
            <a:prstGeom prst="roundRect">
              <a:avLst/>
            </a:prstGeom>
            <a:ln w="19050">
              <a:solidFill>
                <a:schemeClr val="tx1">
                  <a:lumMod val="75000"/>
                  <a:lumOff val="25000"/>
                </a:schemeClr>
              </a:solidFill>
            </a:ln>
            <a:effectLst>
              <a:outerShdw blurRad="63500" dist="63500" dir="2700000" algn="tl" rotWithShape="0">
                <a:schemeClr val="tx1">
                  <a:lumMod val="75000"/>
                  <a:lumOff val="25000"/>
                  <a:alpha val="5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003">
              <a:schemeClr val="l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chemeClr val="accent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Test Scripts</a:t>
              </a:r>
            </a:p>
          </p:txBody>
        </p: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8DF3A5BC-AB05-BE4C-BDCC-4EC4C7F49F92}"/>
                </a:ext>
              </a:extLst>
            </p:cNvPr>
            <p:cNvCxnSpPr/>
            <p:nvPr/>
          </p:nvCxnSpPr>
          <p:spPr>
            <a:xfrm>
              <a:off x="6120000" y="2160000"/>
              <a:ext cx="1440000" cy="0"/>
            </a:xfrm>
            <a:prstGeom prst="line">
              <a:avLst/>
            </a:prstGeom>
            <a:ln w="19050">
              <a:solidFill>
                <a:schemeClr val="tx1">
                  <a:lumMod val="75000"/>
                  <a:lumOff val="2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003">
              <a:schemeClr val="l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32" name="TextBox 31">
            <a:extLst>
              <a:ext uri="{FF2B5EF4-FFF2-40B4-BE49-F238E27FC236}">
                <a16:creationId xmlns:a16="http://schemas.microsoft.com/office/drawing/2014/main" id="{5BFF1F7E-19FA-426C-A7FD-E72CFE09360E}"/>
              </a:ext>
            </a:extLst>
          </p:cNvPr>
          <p:cNvSpPr txBox="1"/>
          <p:nvPr/>
        </p:nvSpPr>
        <p:spPr>
          <a:xfrm>
            <a:off x="3240000" y="1080000"/>
            <a:ext cx="2160000" cy="720000"/>
          </a:xfrm>
          <a:prstGeom prst="rect">
            <a:avLst/>
          </a:prstGeom>
          <a:noFill/>
        </p:spPr>
        <p:txBody>
          <a:bodyPr wrap="square" lIns="36000" tIns="36000" rIns="36000" bIns="36000" rtlCol="0" anchor="t" anchorCtr="1">
            <a:noAutofit/>
          </a:bodyPr>
          <a:lstStyle/>
          <a:p>
            <a:pPr algn="ctr"/>
            <a:r>
              <a:rPr lang="en-US" sz="1400" b="1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lient SDKs</a:t>
            </a:r>
          </a:p>
          <a:p>
            <a:pPr algn="ctr"/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auto-generated)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050E87B-9AF1-4311-8CB0-6F847C27C2B4}"/>
              </a:ext>
            </a:extLst>
          </p:cNvPr>
          <p:cNvSpPr txBox="1"/>
          <p:nvPr/>
        </p:nvSpPr>
        <p:spPr>
          <a:xfrm>
            <a:off x="6120000" y="1980000"/>
            <a:ext cx="1440000" cy="360000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1">
            <a:noAutofit/>
          </a:bodyPr>
          <a:lstStyle>
            <a:defPPr>
              <a:defRPr lang="en-US"/>
            </a:defPPr>
            <a:lvl1pPr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Consolas" panose="020B0609020204030204" pitchFamily="49" charset="0"/>
              </a:defRPr>
            </a:lvl1pPr>
          </a:lstStyle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Test1.{</a:t>
            </a:r>
            <a:r>
              <a:rPr lang="en-US" err="1">
                <a:latin typeface="Calibri" panose="020F0502020204030204" pitchFamily="34" charset="0"/>
                <a:cs typeface="Calibri" panose="020F0502020204030204" pitchFamily="34" charset="0"/>
              </a:rPr>
              <a:t>py,go</a:t>
            </a:r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}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8C2D30CD-93F5-475C-A7AB-83DA7CD0B49C}"/>
              </a:ext>
            </a:extLst>
          </p:cNvPr>
          <p:cNvGrpSpPr/>
          <p:nvPr/>
        </p:nvGrpSpPr>
        <p:grpSpPr>
          <a:xfrm>
            <a:off x="6120000" y="4140000"/>
            <a:ext cx="1440000" cy="1440000"/>
            <a:chOff x="6120000" y="1621438"/>
            <a:chExt cx="1440000" cy="2160000"/>
          </a:xfrm>
        </p:grpSpPr>
        <p:sp>
          <p:nvSpPr>
            <p:cNvPr id="45" name="Rounded Rectangle 8">
              <a:extLst>
                <a:ext uri="{FF2B5EF4-FFF2-40B4-BE49-F238E27FC236}">
                  <a16:creationId xmlns:a16="http://schemas.microsoft.com/office/drawing/2014/main" id="{EA630372-8B68-4CD1-B9C0-04347087D9AA}"/>
                </a:ext>
              </a:extLst>
            </p:cNvPr>
            <p:cNvSpPr/>
            <p:nvPr/>
          </p:nvSpPr>
          <p:spPr>
            <a:xfrm>
              <a:off x="6120000" y="1621438"/>
              <a:ext cx="1440000" cy="2160000"/>
            </a:xfrm>
            <a:prstGeom prst="roundRect">
              <a:avLst/>
            </a:prstGeom>
            <a:ln w="19050">
              <a:solidFill>
                <a:schemeClr val="tx1">
                  <a:lumMod val="75000"/>
                  <a:lumOff val="25000"/>
                </a:schemeClr>
              </a:solidFill>
            </a:ln>
            <a:effectLst>
              <a:outerShdw blurRad="63500" dist="63500" dir="2700000" algn="tl" rotWithShape="0">
                <a:schemeClr val="tx1">
                  <a:lumMod val="75000"/>
                  <a:lumOff val="25000"/>
                  <a:alpha val="5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003">
              <a:schemeClr val="l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chemeClr val="accent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Test Scripts</a:t>
              </a:r>
            </a:p>
          </p:txBody>
        </p: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05DA6652-26A7-43C7-9285-09D2535C86DD}"/>
                </a:ext>
              </a:extLst>
            </p:cNvPr>
            <p:cNvCxnSpPr/>
            <p:nvPr/>
          </p:nvCxnSpPr>
          <p:spPr>
            <a:xfrm>
              <a:off x="6120000" y="2160000"/>
              <a:ext cx="1440000" cy="0"/>
            </a:xfrm>
            <a:prstGeom prst="line">
              <a:avLst/>
            </a:prstGeom>
            <a:ln w="19050">
              <a:solidFill>
                <a:schemeClr val="tx1">
                  <a:lumMod val="75000"/>
                  <a:lumOff val="2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003">
              <a:schemeClr val="l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50" name="TextBox 49">
            <a:extLst>
              <a:ext uri="{FF2B5EF4-FFF2-40B4-BE49-F238E27FC236}">
                <a16:creationId xmlns:a16="http://schemas.microsoft.com/office/drawing/2014/main" id="{BEF3B1AD-709B-4C97-8FCA-B245822277F8}"/>
              </a:ext>
            </a:extLst>
          </p:cNvPr>
          <p:cNvSpPr txBox="1"/>
          <p:nvPr/>
        </p:nvSpPr>
        <p:spPr>
          <a:xfrm>
            <a:off x="6120000" y="4140000"/>
            <a:ext cx="1440000" cy="360000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1">
            <a:noAutofit/>
          </a:bodyPr>
          <a:lstStyle/>
          <a:p>
            <a:pPr algn="l"/>
            <a:r>
              <a:rPr lang="en-US" sz="105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st2.{</a:t>
            </a:r>
            <a:r>
              <a:rPr lang="en-US" sz="1050" err="1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s,cs</a:t>
            </a:r>
            <a:r>
              <a:rPr lang="en-US" sz="105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}</a:t>
            </a:r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8A2CF2C8-AB8C-46DE-AEFF-A821693E6EC0}"/>
              </a:ext>
            </a:extLst>
          </p:cNvPr>
          <p:cNvCxnSpPr/>
          <p:nvPr/>
        </p:nvCxnSpPr>
        <p:spPr>
          <a:xfrm>
            <a:off x="8100000" y="1080000"/>
            <a:ext cx="0" cy="5400000"/>
          </a:xfrm>
          <a:prstGeom prst="line">
            <a:avLst/>
          </a:prstGeom>
          <a:ln w="1905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Rounded Rectangle 5">
            <a:extLst>
              <a:ext uri="{FF2B5EF4-FFF2-40B4-BE49-F238E27FC236}">
                <a16:creationId xmlns:a16="http://schemas.microsoft.com/office/drawing/2014/main" id="{F8E2A58A-B134-4772-969A-D8208E231053}"/>
              </a:ext>
            </a:extLst>
          </p:cNvPr>
          <p:cNvSpPr/>
          <p:nvPr/>
        </p:nvSpPr>
        <p:spPr>
          <a:xfrm>
            <a:off x="10080000" y="1800000"/>
            <a:ext cx="1440000" cy="720000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accent6">
                <a:lumMod val="50000"/>
              </a:schemeClr>
            </a:solidFill>
          </a:ln>
          <a:effectLst>
            <a:outerShdw blurRad="63500" dist="63500" dir="2700000" algn="tl" rotWithShape="0">
              <a:schemeClr val="accent6">
                <a:lumMod val="50000"/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003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dirty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eysight Elastic Network Generator</a:t>
            </a:r>
          </a:p>
        </p:txBody>
      </p:sp>
      <p:sp>
        <p:nvSpPr>
          <p:cNvPr id="53" name="Rounded Rectangle 5">
            <a:extLst>
              <a:ext uri="{FF2B5EF4-FFF2-40B4-BE49-F238E27FC236}">
                <a16:creationId xmlns:a16="http://schemas.microsoft.com/office/drawing/2014/main" id="{0AA9D951-DBEE-4A3E-91A3-41D02D34B3E8}"/>
              </a:ext>
            </a:extLst>
          </p:cNvPr>
          <p:cNvSpPr/>
          <p:nvPr/>
        </p:nvSpPr>
        <p:spPr>
          <a:xfrm>
            <a:off x="10080000" y="2880000"/>
            <a:ext cx="1440000" cy="72000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2">
                <a:lumMod val="50000"/>
              </a:schemeClr>
            </a:solidFill>
          </a:ln>
          <a:effectLst>
            <a:outerShdw blurRad="63500" dist="63500" dir="2700000" algn="tl" rotWithShape="0">
              <a:schemeClr val="accent2">
                <a:lumMod val="50000"/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003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xNetwork</a:t>
            </a:r>
          </a:p>
        </p:txBody>
      </p:sp>
      <p:sp>
        <p:nvSpPr>
          <p:cNvPr id="54" name="Rounded Rectangle 5">
            <a:extLst>
              <a:ext uri="{FF2B5EF4-FFF2-40B4-BE49-F238E27FC236}">
                <a16:creationId xmlns:a16="http://schemas.microsoft.com/office/drawing/2014/main" id="{13C941A5-4302-40C8-AC84-2D9682668BD3}"/>
              </a:ext>
            </a:extLst>
          </p:cNvPr>
          <p:cNvSpPr/>
          <p:nvPr/>
        </p:nvSpPr>
        <p:spPr>
          <a:xfrm>
            <a:off x="10080000" y="3960000"/>
            <a:ext cx="1440000" cy="720000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accent4">
                <a:lumMod val="50000"/>
              </a:schemeClr>
            </a:solidFill>
          </a:ln>
          <a:effectLst>
            <a:outerShdw blurRad="63500" dist="63500" dir="2700000" algn="tl" rotWithShape="0">
              <a:schemeClr val="accent4">
                <a:lumMod val="50000"/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003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Rex</a:t>
            </a:r>
          </a:p>
        </p:txBody>
      </p: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F89619E9-A722-4BCC-BA47-553929D449DC}"/>
              </a:ext>
            </a:extLst>
          </p:cNvPr>
          <p:cNvCxnSpPr/>
          <p:nvPr/>
        </p:nvCxnSpPr>
        <p:spPr>
          <a:xfrm>
            <a:off x="9720000" y="1080000"/>
            <a:ext cx="0" cy="5400000"/>
          </a:xfrm>
          <a:prstGeom prst="line">
            <a:avLst/>
          </a:prstGeom>
          <a:ln w="1905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Arrow Connector 55">
            <a:extLst>
              <a:ext uri="{FF2B5EF4-FFF2-40B4-BE49-F238E27FC236}">
                <a16:creationId xmlns:a16="http://schemas.microsoft.com/office/drawing/2014/main" id="{3EDFAD09-6C03-4471-AFF3-B4EA4A80BA39}"/>
              </a:ext>
            </a:extLst>
          </p:cNvPr>
          <p:cNvCxnSpPr>
            <a:cxnSpLocks/>
            <a:endCxn id="52" idx="1"/>
          </p:cNvCxnSpPr>
          <p:nvPr/>
        </p:nvCxnSpPr>
        <p:spPr>
          <a:xfrm>
            <a:off x="9180000" y="2160000"/>
            <a:ext cx="900000" cy="0"/>
          </a:xfrm>
          <a:prstGeom prst="straightConnector1">
            <a:avLst/>
          </a:prstGeom>
          <a:ln w="19050">
            <a:solidFill>
              <a:schemeClr val="accent6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id="{A58219B5-5506-413E-B3B7-09513D51BC02}"/>
              </a:ext>
            </a:extLst>
          </p:cNvPr>
          <p:cNvCxnSpPr>
            <a:cxnSpLocks/>
            <a:endCxn id="53" idx="1"/>
          </p:cNvCxnSpPr>
          <p:nvPr/>
        </p:nvCxnSpPr>
        <p:spPr>
          <a:xfrm>
            <a:off x="9180000" y="3240000"/>
            <a:ext cx="900000" cy="0"/>
          </a:xfrm>
          <a:prstGeom prst="straightConnector1">
            <a:avLst/>
          </a:prstGeom>
          <a:ln w="19050">
            <a:solidFill>
              <a:schemeClr val="accent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Arrow Connector 57">
            <a:extLst>
              <a:ext uri="{FF2B5EF4-FFF2-40B4-BE49-F238E27FC236}">
                <a16:creationId xmlns:a16="http://schemas.microsoft.com/office/drawing/2014/main" id="{FFCD9132-FA28-43AE-9979-CDD70A79BE53}"/>
              </a:ext>
            </a:extLst>
          </p:cNvPr>
          <p:cNvCxnSpPr>
            <a:cxnSpLocks/>
            <a:endCxn id="54" idx="1"/>
          </p:cNvCxnSpPr>
          <p:nvPr/>
        </p:nvCxnSpPr>
        <p:spPr>
          <a:xfrm>
            <a:off x="9180000" y="4320000"/>
            <a:ext cx="900000" cy="0"/>
          </a:xfrm>
          <a:prstGeom prst="straightConnector1">
            <a:avLst/>
          </a:prstGeom>
          <a:ln w="19050">
            <a:solidFill>
              <a:schemeClr val="accent4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ounded Rectangle 5">
            <a:extLst>
              <a:ext uri="{FF2B5EF4-FFF2-40B4-BE49-F238E27FC236}">
                <a16:creationId xmlns:a16="http://schemas.microsoft.com/office/drawing/2014/main" id="{1A0E7724-CBDC-4AF2-B14E-2691A04BC42E}"/>
              </a:ext>
            </a:extLst>
          </p:cNvPr>
          <p:cNvSpPr/>
          <p:nvPr/>
        </p:nvSpPr>
        <p:spPr>
          <a:xfrm>
            <a:off x="10080000" y="5040000"/>
            <a:ext cx="1440000" cy="720000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19050">
            <a:solidFill>
              <a:schemeClr val="tx2">
                <a:lumMod val="50000"/>
              </a:schemeClr>
            </a:solidFill>
          </a:ln>
          <a:effectLst>
            <a:outerShdw blurRad="63500" dist="63500" dir="2700000" algn="tl" rotWithShape="0">
              <a:schemeClr val="tx2">
                <a:lumMod val="50000"/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003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gna</a:t>
            </a:r>
          </a:p>
        </p:txBody>
      </p:sp>
      <p:cxnSp>
        <p:nvCxnSpPr>
          <p:cNvPr id="64" name="Straight Arrow Connector 63">
            <a:extLst>
              <a:ext uri="{FF2B5EF4-FFF2-40B4-BE49-F238E27FC236}">
                <a16:creationId xmlns:a16="http://schemas.microsoft.com/office/drawing/2014/main" id="{BC8C54B9-18F9-4E4A-812B-65106D4B178D}"/>
              </a:ext>
            </a:extLst>
          </p:cNvPr>
          <p:cNvCxnSpPr>
            <a:cxnSpLocks/>
            <a:endCxn id="61" idx="1"/>
          </p:cNvCxnSpPr>
          <p:nvPr/>
        </p:nvCxnSpPr>
        <p:spPr>
          <a:xfrm>
            <a:off x="9180000" y="5400000"/>
            <a:ext cx="900000" cy="0"/>
          </a:xfrm>
          <a:prstGeom prst="straightConnector1">
            <a:avLst/>
          </a:prstGeom>
          <a:ln w="19050">
            <a:solidFill>
              <a:schemeClr val="tx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TextBox 64">
            <a:extLst>
              <a:ext uri="{FF2B5EF4-FFF2-40B4-BE49-F238E27FC236}">
                <a16:creationId xmlns:a16="http://schemas.microsoft.com/office/drawing/2014/main" id="{A0C2B205-7B4D-4A45-9BA0-80522AD45E32}"/>
              </a:ext>
            </a:extLst>
          </p:cNvPr>
          <p:cNvSpPr txBox="1"/>
          <p:nvPr/>
        </p:nvSpPr>
        <p:spPr>
          <a:xfrm>
            <a:off x="9900000" y="1080000"/>
            <a:ext cx="1800000" cy="720000"/>
          </a:xfrm>
          <a:prstGeom prst="rect">
            <a:avLst/>
          </a:prstGeom>
          <a:noFill/>
        </p:spPr>
        <p:txBody>
          <a:bodyPr wrap="square" lIns="36000" tIns="36000" rIns="36000" bIns="36000" rtlCol="0" anchor="t" anchorCtr="1">
            <a:no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Test Applications</a:t>
            </a:r>
          </a:p>
          <a:p>
            <a:r>
              <a:rPr lang="en-US" b="0">
                <a:latin typeface="Calibri" panose="020F0502020204030204" pitchFamily="34" charset="0"/>
                <a:cs typeface="Calibri" panose="020F0502020204030204" pitchFamily="34" charset="0"/>
              </a:rPr>
              <a:t>(open or proprietary)</a:t>
            </a:r>
          </a:p>
        </p:txBody>
      </p:sp>
      <p:sp>
        <p:nvSpPr>
          <p:cNvPr id="71" name="Arrow: Up-Down 15">
            <a:extLst>
              <a:ext uri="{FF2B5EF4-FFF2-40B4-BE49-F238E27FC236}">
                <a16:creationId xmlns:a16="http://schemas.microsoft.com/office/drawing/2014/main" id="{F66D41D5-8929-46F5-9B86-52553DE44DE8}"/>
              </a:ext>
            </a:extLst>
          </p:cNvPr>
          <p:cNvSpPr/>
          <p:nvPr/>
        </p:nvSpPr>
        <p:spPr>
          <a:xfrm>
            <a:off x="8460000" y="1080000"/>
            <a:ext cx="900000" cy="5400000"/>
          </a:xfrm>
          <a:prstGeom prst="upDownArrow">
            <a:avLst>
              <a:gd name="adj1" fmla="val 59396"/>
              <a:gd name="adj2" fmla="val 50000"/>
            </a:avLst>
          </a:prstGeom>
          <a:ln w="19050">
            <a:solidFill>
              <a:schemeClr val="tx1">
                <a:lumMod val="75000"/>
                <a:lumOff val="25000"/>
              </a:schemeClr>
            </a:solidFill>
          </a:ln>
          <a:effectLst>
            <a:outerShdw blurRad="63500" dist="63500" dir="2700000" algn="tl" rotWithShape="0">
              <a:schemeClr val="tx1">
                <a:lumMod val="75000"/>
                <a:lumOff val="25000"/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003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spc="500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pen  Traffic  Generator  APIs</a:t>
            </a:r>
          </a:p>
        </p:txBody>
      </p:sp>
      <p:cxnSp>
        <p:nvCxnSpPr>
          <p:cNvPr id="76" name="Straight Arrow Connector 75">
            <a:extLst>
              <a:ext uri="{FF2B5EF4-FFF2-40B4-BE49-F238E27FC236}">
                <a16:creationId xmlns:a16="http://schemas.microsoft.com/office/drawing/2014/main" id="{13AD28E6-6337-4326-9398-C14A9EDDAE8D}"/>
              </a:ext>
            </a:extLst>
          </p:cNvPr>
          <p:cNvCxnSpPr>
            <a:cxnSpLocks/>
          </p:cNvCxnSpPr>
          <p:nvPr/>
        </p:nvCxnSpPr>
        <p:spPr>
          <a:xfrm>
            <a:off x="7740000" y="2700000"/>
            <a:ext cx="900000" cy="0"/>
          </a:xfrm>
          <a:prstGeom prst="straightConnector1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Arrow Connector 84">
            <a:extLst>
              <a:ext uri="{FF2B5EF4-FFF2-40B4-BE49-F238E27FC236}">
                <a16:creationId xmlns:a16="http://schemas.microsoft.com/office/drawing/2014/main" id="{F1DFA0E9-E4B7-4D3A-8066-E3E4F9B28E92}"/>
              </a:ext>
            </a:extLst>
          </p:cNvPr>
          <p:cNvCxnSpPr>
            <a:cxnSpLocks/>
          </p:cNvCxnSpPr>
          <p:nvPr/>
        </p:nvCxnSpPr>
        <p:spPr>
          <a:xfrm>
            <a:off x="7740000" y="4860000"/>
            <a:ext cx="900000" cy="0"/>
          </a:xfrm>
          <a:prstGeom prst="straightConnector1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Graphic 1">
            <a:extLst>
              <a:ext uri="{FF2B5EF4-FFF2-40B4-BE49-F238E27FC236}">
                <a16:creationId xmlns:a16="http://schemas.microsoft.com/office/drawing/2014/main" id="{C3AEFC5B-14ED-2562-8602-D2B43B4DEC3F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19273" t="26098" r="20567" b="27628"/>
          <a:stretch/>
        </p:blipFill>
        <p:spPr>
          <a:xfrm>
            <a:off x="11681086" y="2007000"/>
            <a:ext cx="397825" cy="306000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AAD503FF-F336-6AF8-DB24-D25F53DF5624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19273" t="26098" r="20567" b="27628"/>
          <a:stretch/>
        </p:blipFill>
        <p:spPr>
          <a:xfrm>
            <a:off x="11681085" y="3087000"/>
            <a:ext cx="397825" cy="306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0D707106-0C0E-4B2A-8147-F0861017619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0584"/>
          <a:stretch/>
        </p:blipFill>
        <p:spPr>
          <a:xfrm>
            <a:off x="11632217" y="4157358"/>
            <a:ext cx="495560" cy="316178"/>
          </a:xfrm>
          <a:prstGeom prst="rect">
            <a:avLst/>
          </a:prstGeom>
        </p:spPr>
      </p:pic>
      <p:pic>
        <p:nvPicPr>
          <p:cNvPr id="18" name="Picture 17" descr="Logo, icon&#10;&#10;Description automatically generated">
            <a:extLst>
              <a:ext uri="{FF2B5EF4-FFF2-40B4-BE49-F238E27FC236}">
                <a16:creationId xmlns:a16="http://schemas.microsoft.com/office/drawing/2014/main" id="{B70DF70F-FC77-107E-3480-B6CDDB7F454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15949" y="5241911"/>
            <a:ext cx="316178" cy="316178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29816621-7ABA-D413-A73D-20F7C758F2C6}"/>
              </a:ext>
            </a:extLst>
          </p:cNvPr>
          <p:cNvSpPr txBox="1"/>
          <p:nvPr/>
        </p:nvSpPr>
        <p:spPr>
          <a:xfrm>
            <a:off x="602108" y="1722460"/>
            <a:ext cx="1578595" cy="426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60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hlinkClick r:id="rId7"/>
              </a:rPr>
              <a:t>https://otg.dev</a:t>
            </a:r>
            <a:r>
              <a:rPr lang="en-US" sz="160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84408598-61C6-0142-D171-162763132AA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Keysight Elastic Network Generator</a:t>
            </a:r>
          </a:p>
        </p:txBody>
      </p:sp>
    </p:spTree>
    <p:extLst>
      <p:ext uri="{BB962C8B-B14F-4D97-AF65-F5344CB8AC3E}">
        <p14:creationId xmlns:p14="http://schemas.microsoft.com/office/powerpoint/2010/main" val="3318242463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29541B25-CC47-FF76-22D4-550C54B50490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r>
              <a:rPr lang="en-US" dirty="0"/>
              <a:t>Building blueprint</a:t>
            </a: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569467E0-0264-02AD-0C31-4FCAB28B75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TG Components</a:t>
            </a:r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C87F33BE-57AC-6A49-8011-1A3400A60BE8}"/>
              </a:ext>
            </a:extLst>
          </p:cNvPr>
          <p:cNvPicPr>
            <a:picLocks noGrp="1" noChangeAspect="1"/>
          </p:cNvPicPr>
          <p:nvPr>
            <p:ph sz="quarter" idx="4294967295"/>
          </p:nvPr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1803400"/>
            <a:ext cx="4478338" cy="4478338"/>
          </a:xfrm>
        </p:spPr>
      </p:pic>
      <p:pic>
        <p:nvPicPr>
          <p:cNvPr id="25" name="Graphic 24">
            <a:extLst>
              <a:ext uri="{FF2B5EF4-FFF2-40B4-BE49-F238E27FC236}">
                <a16:creationId xmlns:a16="http://schemas.microsoft.com/office/drawing/2014/main" id="{CDBF7171-5B06-F142-C8BE-0955242FDA5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85800" y="1731203"/>
            <a:ext cx="7914849" cy="3989976"/>
          </a:xfrm>
          <a:prstGeom prst="rect">
            <a:avLst/>
          </a:prstGeom>
        </p:spPr>
      </p:pic>
      <p:pic>
        <p:nvPicPr>
          <p:cNvPr id="27" name="Graphic 26" descr="Badge 1 with solid fill">
            <a:extLst>
              <a:ext uri="{FF2B5EF4-FFF2-40B4-BE49-F238E27FC236}">
                <a16:creationId xmlns:a16="http://schemas.microsoft.com/office/drawing/2014/main" id="{A408F432-EA4A-EF47-A9CD-9FE99D34063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006145" y="2925435"/>
            <a:ext cx="457200" cy="457200"/>
          </a:xfrm>
          <a:prstGeom prst="rect">
            <a:avLst/>
          </a:prstGeom>
          <a:effectLst/>
        </p:spPr>
      </p:pic>
      <p:pic>
        <p:nvPicPr>
          <p:cNvPr id="29" name="Graphic 28" descr="Badge with solid fill">
            <a:extLst>
              <a:ext uri="{FF2B5EF4-FFF2-40B4-BE49-F238E27FC236}">
                <a16:creationId xmlns:a16="http://schemas.microsoft.com/office/drawing/2014/main" id="{15FDECA8-692F-5F57-0FB7-34E1830EE8A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928113" y="2037939"/>
            <a:ext cx="457200" cy="457200"/>
          </a:xfrm>
          <a:prstGeom prst="rect">
            <a:avLst/>
          </a:prstGeom>
          <a:effectLst/>
        </p:spPr>
      </p:pic>
      <p:pic>
        <p:nvPicPr>
          <p:cNvPr id="31" name="Graphic 30" descr="Badge 3 with solid fill">
            <a:extLst>
              <a:ext uri="{FF2B5EF4-FFF2-40B4-BE49-F238E27FC236}">
                <a16:creationId xmlns:a16="http://schemas.microsoft.com/office/drawing/2014/main" id="{85C36EB5-2F9F-8AF6-1E1C-DEFEC6EA7CB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944588" y="3268991"/>
            <a:ext cx="457200" cy="457200"/>
          </a:xfrm>
          <a:prstGeom prst="rect">
            <a:avLst/>
          </a:prstGeom>
          <a:effectLst/>
        </p:spPr>
      </p:pic>
      <p:pic>
        <p:nvPicPr>
          <p:cNvPr id="32" name="Graphic 31" descr="Badge 1 with solid fill">
            <a:extLst>
              <a:ext uri="{FF2B5EF4-FFF2-40B4-BE49-F238E27FC236}">
                <a16:creationId xmlns:a16="http://schemas.microsoft.com/office/drawing/2014/main" id="{5EB2783B-3301-3D23-7EAD-362E697B481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721083" y="2022772"/>
            <a:ext cx="457200" cy="457200"/>
          </a:xfrm>
          <a:prstGeom prst="rect">
            <a:avLst/>
          </a:prstGeom>
          <a:effectLst/>
        </p:spPr>
      </p:pic>
      <p:pic>
        <p:nvPicPr>
          <p:cNvPr id="33" name="Graphic 32" descr="Badge with solid fill">
            <a:extLst>
              <a:ext uri="{FF2B5EF4-FFF2-40B4-BE49-F238E27FC236}">
                <a16:creationId xmlns:a16="http://schemas.microsoft.com/office/drawing/2014/main" id="{5A177CA2-441E-56AD-A9C8-6A487C946B5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721083" y="3178224"/>
            <a:ext cx="457200" cy="457200"/>
          </a:xfrm>
          <a:prstGeom prst="rect">
            <a:avLst/>
          </a:prstGeom>
          <a:effectLst/>
        </p:spPr>
      </p:pic>
      <p:pic>
        <p:nvPicPr>
          <p:cNvPr id="34" name="Graphic 33" descr="Badge 3 with solid fill">
            <a:extLst>
              <a:ext uri="{FF2B5EF4-FFF2-40B4-BE49-F238E27FC236}">
                <a16:creationId xmlns:a16="http://schemas.microsoft.com/office/drawing/2014/main" id="{C4434280-48C3-3A9F-1527-200EA1A09D5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721083" y="4149429"/>
            <a:ext cx="457200" cy="457200"/>
          </a:xfrm>
          <a:prstGeom prst="rect">
            <a:avLst/>
          </a:prstGeom>
          <a:effectLst/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6F4C812B-8212-CDE9-46A4-FA58248E46BF}"/>
              </a:ext>
            </a:extLst>
          </p:cNvPr>
          <p:cNvSpPr txBox="1"/>
          <p:nvPr/>
        </p:nvSpPr>
        <p:spPr>
          <a:xfrm>
            <a:off x="9185856" y="2037940"/>
            <a:ext cx="2787842" cy="4572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1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KENG Controller: The brain which manages all the components 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546260FF-E8CF-859E-B2EF-D400A11980E8}"/>
              </a:ext>
            </a:extLst>
          </p:cNvPr>
          <p:cNvSpPr txBox="1"/>
          <p:nvPr/>
        </p:nvSpPr>
        <p:spPr>
          <a:xfrm>
            <a:off x="9185856" y="3178224"/>
            <a:ext cx="2787842" cy="4572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1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xia-c protocol engine: Control plane emulation (BGP, ISIS etc.)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C9D162A8-1D3C-5CE3-E47E-217133AB3D47}"/>
              </a:ext>
            </a:extLst>
          </p:cNvPr>
          <p:cNvSpPr txBox="1"/>
          <p:nvPr/>
        </p:nvSpPr>
        <p:spPr>
          <a:xfrm>
            <a:off x="9185856" y="4149429"/>
            <a:ext cx="2787842" cy="4572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1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xia-c traffic engine: Data plane, traffic flows etc. 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922E388-5A5B-B4BE-2263-DC96390E4F71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r>
              <a:rPr lang="en-US"/>
              <a:t>Keysight Elastic Network Generator</a:t>
            </a:r>
          </a:p>
        </p:txBody>
      </p:sp>
    </p:spTree>
    <p:extLst>
      <p:ext uri="{BB962C8B-B14F-4D97-AF65-F5344CB8AC3E}">
        <p14:creationId xmlns:p14="http://schemas.microsoft.com/office/powerpoint/2010/main" val="296803645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CCAA5E-C5C4-C50D-C362-897A27DA08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TG Components continue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B4B8A22-3230-7AE1-EF69-AD71725F77A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r>
              <a:rPr lang="en-US"/>
              <a:t>Different implementations of OTG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A4118A4-7B06-49D0-8CC2-F6AB1950A6FC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Keysight Elastic Network Generator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E0B97F9A-C0A6-54BA-1815-5D6CA34C1EEE}"/>
              </a:ext>
            </a:extLst>
          </p:cNvPr>
          <p:cNvGrpSpPr/>
          <p:nvPr/>
        </p:nvGrpSpPr>
        <p:grpSpPr>
          <a:xfrm>
            <a:off x="995517" y="1391151"/>
            <a:ext cx="5428934" cy="2668519"/>
            <a:chOff x="3581400" y="3700312"/>
            <a:chExt cx="5428934" cy="2668519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97703FCF-8280-5B8F-782A-A7F8DD25973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653612" y="3700312"/>
              <a:ext cx="5356722" cy="2335818"/>
            </a:xfrm>
            <a:prstGeom prst="rect">
              <a:avLst/>
            </a:prstGeom>
          </p:spPr>
        </p:pic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42DEBC09-A7AA-6D7C-9D69-BF2AF5C94DAA}"/>
                </a:ext>
              </a:extLst>
            </p:cNvPr>
            <p:cNvSpPr txBox="1"/>
            <p:nvPr/>
          </p:nvSpPr>
          <p:spPr>
            <a:xfrm>
              <a:off x="3653612" y="6109844"/>
              <a:ext cx="5356722" cy="2589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OTG implementation in Ixia-c SW</a:t>
              </a:r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94F2C3FB-7746-624E-0443-1BEBCF90357F}"/>
                </a:ext>
              </a:extLst>
            </p:cNvPr>
            <p:cNvSpPr/>
            <p:nvPr/>
          </p:nvSpPr>
          <p:spPr>
            <a:xfrm>
              <a:off x="4419600" y="4539662"/>
              <a:ext cx="700548" cy="501445"/>
            </a:xfrm>
            <a:custGeom>
              <a:avLst/>
              <a:gdLst>
                <a:gd name="connsiteX0" fmla="*/ 486697 w 700548"/>
                <a:gd name="connsiteY0" fmla="*/ 0 h 501445"/>
                <a:gd name="connsiteX1" fmla="*/ 339213 w 700548"/>
                <a:gd name="connsiteY1" fmla="*/ 14749 h 501445"/>
                <a:gd name="connsiteX2" fmla="*/ 280219 w 700548"/>
                <a:gd name="connsiteY2" fmla="*/ 22123 h 501445"/>
                <a:gd name="connsiteX3" fmla="*/ 147484 w 700548"/>
                <a:gd name="connsiteY3" fmla="*/ 51620 h 501445"/>
                <a:gd name="connsiteX4" fmla="*/ 103239 w 700548"/>
                <a:gd name="connsiteY4" fmla="*/ 66368 h 501445"/>
                <a:gd name="connsiteX5" fmla="*/ 81116 w 700548"/>
                <a:gd name="connsiteY5" fmla="*/ 73742 h 501445"/>
                <a:gd name="connsiteX6" fmla="*/ 14748 w 700548"/>
                <a:gd name="connsiteY6" fmla="*/ 125362 h 501445"/>
                <a:gd name="connsiteX7" fmla="*/ 0 w 700548"/>
                <a:gd name="connsiteY7" fmla="*/ 147484 h 501445"/>
                <a:gd name="connsiteX8" fmla="*/ 14748 w 700548"/>
                <a:gd name="connsiteY8" fmla="*/ 280220 h 501445"/>
                <a:gd name="connsiteX9" fmla="*/ 22123 w 700548"/>
                <a:gd name="connsiteY9" fmla="*/ 302342 h 501445"/>
                <a:gd name="connsiteX10" fmla="*/ 36871 w 700548"/>
                <a:gd name="connsiteY10" fmla="*/ 317091 h 501445"/>
                <a:gd name="connsiteX11" fmla="*/ 44245 w 700548"/>
                <a:gd name="connsiteY11" fmla="*/ 339213 h 501445"/>
                <a:gd name="connsiteX12" fmla="*/ 88490 w 700548"/>
                <a:gd name="connsiteY12" fmla="*/ 376084 h 501445"/>
                <a:gd name="connsiteX13" fmla="*/ 147484 w 700548"/>
                <a:gd name="connsiteY13" fmla="*/ 420329 h 501445"/>
                <a:gd name="connsiteX14" fmla="*/ 191729 w 700548"/>
                <a:gd name="connsiteY14" fmla="*/ 435078 h 501445"/>
                <a:gd name="connsiteX15" fmla="*/ 243348 w 700548"/>
                <a:gd name="connsiteY15" fmla="*/ 457200 h 501445"/>
                <a:gd name="connsiteX16" fmla="*/ 287593 w 700548"/>
                <a:gd name="connsiteY16" fmla="*/ 471949 h 501445"/>
                <a:gd name="connsiteX17" fmla="*/ 331839 w 700548"/>
                <a:gd name="connsiteY17" fmla="*/ 479323 h 501445"/>
                <a:gd name="connsiteX18" fmla="*/ 361335 w 700548"/>
                <a:gd name="connsiteY18" fmla="*/ 486697 h 501445"/>
                <a:gd name="connsiteX19" fmla="*/ 412955 w 700548"/>
                <a:gd name="connsiteY19" fmla="*/ 494071 h 501445"/>
                <a:gd name="connsiteX20" fmla="*/ 449826 w 700548"/>
                <a:gd name="connsiteY20" fmla="*/ 501445 h 501445"/>
                <a:gd name="connsiteX21" fmla="*/ 501445 w 700548"/>
                <a:gd name="connsiteY21" fmla="*/ 494071 h 501445"/>
                <a:gd name="connsiteX22" fmla="*/ 523568 w 700548"/>
                <a:gd name="connsiteY22" fmla="*/ 486697 h 501445"/>
                <a:gd name="connsiteX23" fmla="*/ 575187 w 700548"/>
                <a:gd name="connsiteY23" fmla="*/ 471949 h 501445"/>
                <a:gd name="connsiteX24" fmla="*/ 612058 w 700548"/>
                <a:gd name="connsiteY24" fmla="*/ 442452 h 501445"/>
                <a:gd name="connsiteX25" fmla="*/ 626806 w 700548"/>
                <a:gd name="connsiteY25" fmla="*/ 427703 h 501445"/>
                <a:gd name="connsiteX26" fmla="*/ 648929 w 700548"/>
                <a:gd name="connsiteY26" fmla="*/ 412955 h 501445"/>
                <a:gd name="connsiteX27" fmla="*/ 685800 w 700548"/>
                <a:gd name="connsiteY27" fmla="*/ 361336 h 501445"/>
                <a:gd name="connsiteX28" fmla="*/ 700548 w 700548"/>
                <a:gd name="connsiteY28" fmla="*/ 294968 h 501445"/>
                <a:gd name="connsiteX29" fmla="*/ 693174 w 700548"/>
                <a:gd name="connsiteY29" fmla="*/ 199103 h 501445"/>
                <a:gd name="connsiteX30" fmla="*/ 663677 w 700548"/>
                <a:gd name="connsiteY30" fmla="*/ 140110 h 501445"/>
                <a:gd name="connsiteX31" fmla="*/ 626806 w 700548"/>
                <a:gd name="connsiteY31" fmla="*/ 103239 h 501445"/>
                <a:gd name="connsiteX32" fmla="*/ 589935 w 700548"/>
                <a:gd name="connsiteY32" fmla="*/ 73742 h 501445"/>
                <a:gd name="connsiteX33" fmla="*/ 560439 w 700548"/>
                <a:gd name="connsiteY33" fmla="*/ 51620 h 501445"/>
                <a:gd name="connsiteX34" fmla="*/ 486697 w 700548"/>
                <a:gd name="connsiteY34" fmla="*/ 22123 h 501445"/>
                <a:gd name="connsiteX35" fmla="*/ 464574 w 700548"/>
                <a:gd name="connsiteY35" fmla="*/ 14749 h 501445"/>
                <a:gd name="connsiteX36" fmla="*/ 486697 w 700548"/>
                <a:gd name="connsiteY36" fmla="*/ 0 h 501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700548" h="501445">
                  <a:moveTo>
                    <a:pt x="486697" y="0"/>
                  </a:moveTo>
                  <a:cubicBezTo>
                    <a:pt x="406096" y="16120"/>
                    <a:pt x="484428" y="2121"/>
                    <a:pt x="339213" y="14749"/>
                  </a:cubicBezTo>
                  <a:cubicBezTo>
                    <a:pt x="319470" y="16466"/>
                    <a:pt x="299884" y="19665"/>
                    <a:pt x="280219" y="22123"/>
                  </a:cubicBezTo>
                  <a:cubicBezTo>
                    <a:pt x="192735" y="51284"/>
                    <a:pt x="237028" y="41670"/>
                    <a:pt x="147484" y="51620"/>
                  </a:cubicBezTo>
                  <a:lnTo>
                    <a:pt x="103239" y="66368"/>
                  </a:lnTo>
                  <a:lnTo>
                    <a:pt x="81116" y="73742"/>
                  </a:lnTo>
                  <a:cubicBezTo>
                    <a:pt x="50283" y="94298"/>
                    <a:pt x="36408" y="99370"/>
                    <a:pt x="14748" y="125362"/>
                  </a:cubicBezTo>
                  <a:cubicBezTo>
                    <a:pt x="9074" y="132170"/>
                    <a:pt x="4916" y="140110"/>
                    <a:pt x="0" y="147484"/>
                  </a:cubicBezTo>
                  <a:cubicBezTo>
                    <a:pt x="4453" y="205380"/>
                    <a:pt x="2607" y="231658"/>
                    <a:pt x="14748" y="280220"/>
                  </a:cubicBezTo>
                  <a:cubicBezTo>
                    <a:pt x="16633" y="287761"/>
                    <a:pt x="18124" y="295677"/>
                    <a:pt x="22123" y="302342"/>
                  </a:cubicBezTo>
                  <a:cubicBezTo>
                    <a:pt x="25700" y="308304"/>
                    <a:pt x="31955" y="312175"/>
                    <a:pt x="36871" y="317091"/>
                  </a:cubicBezTo>
                  <a:cubicBezTo>
                    <a:pt x="39329" y="324465"/>
                    <a:pt x="39933" y="332746"/>
                    <a:pt x="44245" y="339213"/>
                  </a:cubicBezTo>
                  <a:cubicBezTo>
                    <a:pt x="59259" y="361734"/>
                    <a:pt x="69057" y="360538"/>
                    <a:pt x="88490" y="376084"/>
                  </a:cubicBezTo>
                  <a:cubicBezTo>
                    <a:pt x="113447" y="396049"/>
                    <a:pt x="103386" y="405629"/>
                    <a:pt x="147484" y="420329"/>
                  </a:cubicBezTo>
                  <a:cubicBezTo>
                    <a:pt x="162232" y="425245"/>
                    <a:pt x="178794" y="426455"/>
                    <a:pt x="191729" y="435078"/>
                  </a:cubicBezTo>
                  <a:cubicBezTo>
                    <a:pt x="226829" y="458477"/>
                    <a:pt x="200058" y="444212"/>
                    <a:pt x="243348" y="457200"/>
                  </a:cubicBezTo>
                  <a:cubicBezTo>
                    <a:pt x="258238" y="461667"/>
                    <a:pt x="272258" y="469393"/>
                    <a:pt x="287593" y="471949"/>
                  </a:cubicBezTo>
                  <a:cubicBezTo>
                    <a:pt x="302342" y="474407"/>
                    <a:pt x="317177" y="476391"/>
                    <a:pt x="331839" y="479323"/>
                  </a:cubicBezTo>
                  <a:cubicBezTo>
                    <a:pt x="341777" y="481311"/>
                    <a:pt x="351364" y="484884"/>
                    <a:pt x="361335" y="486697"/>
                  </a:cubicBezTo>
                  <a:cubicBezTo>
                    <a:pt x="378436" y="489806"/>
                    <a:pt x="395810" y="491214"/>
                    <a:pt x="412955" y="494071"/>
                  </a:cubicBezTo>
                  <a:cubicBezTo>
                    <a:pt x="425318" y="496131"/>
                    <a:pt x="437536" y="498987"/>
                    <a:pt x="449826" y="501445"/>
                  </a:cubicBezTo>
                  <a:cubicBezTo>
                    <a:pt x="467032" y="498987"/>
                    <a:pt x="484401" y="497480"/>
                    <a:pt x="501445" y="494071"/>
                  </a:cubicBezTo>
                  <a:cubicBezTo>
                    <a:pt x="509067" y="492547"/>
                    <a:pt x="516094" y="488832"/>
                    <a:pt x="523568" y="486697"/>
                  </a:cubicBezTo>
                  <a:cubicBezTo>
                    <a:pt x="588384" y="468178"/>
                    <a:pt x="522143" y="489630"/>
                    <a:pt x="575187" y="471949"/>
                  </a:cubicBezTo>
                  <a:cubicBezTo>
                    <a:pt x="604561" y="427886"/>
                    <a:pt x="572481" y="466199"/>
                    <a:pt x="612058" y="442452"/>
                  </a:cubicBezTo>
                  <a:cubicBezTo>
                    <a:pt x="618020" y="438875"/>
                    <a:pt x="621377" y="432046"/>
                    <a:pt x="626806" y="427703"/>
                  </a:cubicBezTo>
                  <a:cubicBezTo>
                    <a:pt x="633727" y="422166"/>
                    <a:pt x="641555" y="417871"/>
                    <a:pt x="648929" y="412955"/>
                  </a:cubicBezTo>
                  <a:cubicBezTo>
                    <a:pt x="651447" y="409598"/>
                    <a:pt x="682206" y="369723"/>
                    <a:pt x="685800" y="361336"/>
                  </a:cubicBezTo>
                  <a:cubicBezTo>
                    <a:pt x="689705" y="352224"/>
                    <a:pt x="699236" y="301530"/>
                    <a:pt x="700548" y="294968"/>
                  </a:cubicBezTo>
                  <a:cubicBezTo>
                    <a:pt x="698090" y="263013"/>
                    <a:pt x="698172" y="230760"/>
                    <a:pt x="693174" y="199103"/>
                  </a:cubicBezTo>
                  <a:cubicBezTo>
                    <a:pt x="684509" y="144220"/>
                    <a:pt x="685716" y="167658"/>
                    <a:pt x="663677" y="140110"/>
                  </a:cubicBezTo>
                  <a:cubicBezTo>
                    <a:pt x="635583" y="104993"/>
                    <a:pt x="664733" y="128523"/>
                    <a:pt x="626806" y="103239"/>
                  </a:cubicBezTo>
                  <a:cubicBezTo>
                    <a:pt x="598821" y="61260"/>
                    <a:pt x="628294" y="95661"/>
                    <a:pt x="589935" y="73742"/>
                  </a:cubicBezTo>
                  <a:cubicBezTo>
                    <a:pt x="579264" y="67645"/>
                    <a:pt x="570861" y="58134"/>
                    <a:pt x="560439" y="51620"/>
                  </a:cubicBezTo>
                  <a:cubicBezTo>
                    <a:pt x="535636" y="36118"/>
                    <a:pt x="515069" y="31580"/>
                    <a:pt x="486697" y="22123"/>
                  </a:cubicBezTo>
                  <a:lnTo>
                    <a:pt x="464574" y="14749"/>
                  </a:lnTo>
                  <a:lnTo>
                    <a:pt x="486697" y="0"/>
                  </a:lnTo>
                  <a:close/>
                </a:path>
              </a:pathLst>
            </a:custGeom>
            <a:noFill/>
            <a:ln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err="1"/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602F8B57-63C0-1530-A76A-28D7856AD319}"/>
                </a:ext>
              </a:extLst>
            </p:cNvPr>
            <p:cNvSpPr txBox="1"/>
            <p:nvPr/>
          </p:nvSpPr>
          <p:spPr>
            <a:xfrm>
              <a:off x="3581400" y="4182017"/>
              <a:ext cx="914400" cy="42694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en-US" sz="10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snappi or any REST client</a:t>
              </a: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94E372F9-B9E5-2B0A-0569-B811D48402B7}"/>
              </a:ext>
            </a:extLst>
          </p:cNvPr>
          <p:cNvGrpSpPr/>
          <p:nvPr/>
        </p:nvGrpSpPr>
        <p:grpSpPr>
          <a:xfrm>
            <a:off x="6882580" y="1361366"/>
            <a:ext cx="5103676" cy="2747757"/>
            <a:chOff x="7266039" y="1334593"/>
            <a:chExt cx="4667998" cy="2446778"/>
          </a:xfrm>
        </p:grpSpPr>
        <p:pic>
          <p:nvPicPr>
            <p:cNvPr id="21" name="Picture 20" descr="Graphical user interface, text&#10;&#10;Description automatically generated">
              <a:extLst>
                <a:ext uri="{FF2B5EF4-FFF2-40B4-BE49-F238E27FC236}">
                  <a16:creationId xmlns:a16="http://schemas.microsoft.com/office/drawing/2014/main" id="{62754596-B3BD-168A-AF6A-31BDDC32387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391400" y="1334593"/>
              <a:ext cx="4542637" cy="2091494"/>
            </a:xfrm>
            <a:prstGeom prst="rect">
              <a:avLst/>
            </a:prstGeom>
          </p:spPr>
        </p:pic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1280A3EA-0F13-10E2-DA39-9DD032C751ED}"/>
                </a:ext>
              </a:extLst>
            </p:cNvPr>
            <p:cNvSpPr txBox="1"/>
            <p:nvPr/>
          </p:nvSpPr>
          <p:spPr>
            <a:xfrm>
              <a:off x="7391400" y="3462680"/>
              <a:ext cx="4542637" cy="31869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OTG implementation to Ixia HW</a:t>
              </a:r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D934138F-0784-5914-76E3-2DFD5ED0EF6B}"/>
                </a:ext>
              </a:extLst>
            </p:cNvPr>
            <p:cNvSpPr/>
            <p:nvPr/>
          </p:nvSpPr>
          <p:spPr>
            <a:xfrm>
              <a:off x="7986252" y="2129617"/>
              <a:ext cx="700548" cy="501445"/>
            </a:xfrm>
            <a:custGeom>
              <a:avLst/>
              <a:gdLst>
                <a:gd name="connsiteX0" fmla="*/ 486697 w 700548"/>
                <a:gd name="connsiteY0" fmla="*/ 0 h 501445"/>
                <a:gd name="connsiteX1" fmla="*/ 339213 w 700548"/>
                <a:gd name="connsiteY1" fmla="*/ 14749 h 501445"/>
                <a:gd name="connsiteX2" fmla="*/ 280219 w 700548"/>
                <a:gd name="connsiteY2" fmla="*/ 22123 h 501445"/>
                <a:gd name="connsiteX3" fmla="*/ 147484 w 700548"/>
                <a:gd name="connsiteY3" fmla="*/ 51620 h 501445"/>
                <a:gd name="connsiteX4" fmla="*/ 103239 w 700548"/>
                <a:gd name="connsiteY4" fmla="*/ 66368 h 501445"/>
                <a:gd name="connsiteX5" fmla="*/ 81116 w 700548"/>
                <a:gd name="connsiteY5" fmla="*/ 73742 h 501445"/>
                <a:gd name="connsiteX6" fmla="*/ 14748 w 700548"/>
                <a:gd name="connsiteY6" fmla="*/ 125362 h 501445"/>
                <a:gd name="connsiteX7" fmla="*/ 0 w 700548"/>
                <a:gd name="connsiteY7" fmla="*/ 147484 h 501445"/>
                <a:gd name="connsiteX8" fmla="*/ 14748 w 700548"/>
                <a:gd name="connsiteY8" fmla="*/ 280220 h 501445"/>
                <a:gd name="connsiteX9" fmla="*/ 22123 w 700548"/>
                <a:gd name="connsiteY9" fmla="*/ 302342 h 501445"/>
                <a:gd name="connsiteX10" fmla="*/ 36871 w 700548"/>
                <a:gd name="connsiteY10" fmla="*/ 317091 h 501445"/>
                <a:gd name="connsiteX11" fmla="*/ 44245 w 700548"/>
                <a:gd name="connsiteY11" fmla="*/ 339213 h 501445"/>
                <a:gd name="connsiteX12" fmla="*/ 88490 w 700548"/>
                <a:gd name="connsiteY12" fmla="*/ 376084 h 501445"/>
                <a:gd name="connsiteX13" fmla="*/ 147484 w 700548"/>
                <a:gd name="connsiteY13" fmla="*/ 420329 h 501445"/>
                <a:gd name="connsiteX14" fmla="*/ 191729 w 700548"/>
                <a:gd name="connsiteY14" fmla="*/ 435078 h 501445"/>
                <a:gd name="connsiteX15" fmla="*/ 243348 w 700548"/>
                <a:gd name="connsiteY15" fmla="*/ 457200 h 501445"/>
                <a:gd name="connsiteX16" fmla="*/ 287593 w 700548"/>
                <a:gd name="connsiteY16" fmla="*/ 471949 h 501445"/>
                <a:gd name="connsiteX17" fmla="*/ 331839 w 700548"/>
                <a:gd name="connsiteY17" fmla="*/ 479323 h 501445"/>
                <a:gd name="connsiteX18" fmla="*/ 361335 w 700548"/>
                <a:gd name="connsiteY18" fmla="*/ 486697 h 501445"/>
                <a:gd name="connsiteX19" fmla="*/ 412955 w 700548"/>
                <a:gd name="connsiteY19" fmla="*/ 494071 h 501445"/>
                <a:gd name="connsiteX20" fmla="*/ 449826 w 700548"/>
                <a:gd name="connsiteY20" fmla="*/ 501445 h 501445"/>
                <a:gd name="connsiteX21" fmla="*/ 501445 w 700548"/>
                <a:gd name="connsiteY21" fmla="*/ 494071 h 501445"/>
                <a:gd name="connsiteX22" fmla="*/ 523568 w 700548"/>
                <a:gd name="connsiteY22" fmla="*/ 486697 h 501445"/>
                <a:gd name="connsiteX23" fmla="*/ 575187 w 700548"/>
                <a:gd name="connsiteY23" fmla="*/ 471949 h 501445"/>
                <a:gd name="connsiteX24" fmla="*/ 612058 w 700548"/>
                <a:gd name="connsiteY24" fmla="*/ 442452 h 501445"/>
                <a:gd name="connsiteX25" fmla="*/ 626806 w 700548"/>
                <a:gd name="connsiteY25" fmla="*/ 427703 h 501445"/>
                <a:gd name="connsiteX26" fmla="*/ 648929 w 700548"/>
                <a:gd name="connsiteY26" fmla="*/ 412955 h 501445"/>
                <a:gd name="connsiteX27" fmla="*/ 685800 w 700548"/>
                <a:gd name="connsiteY27" fmla="*/ 361336 h 501445"/>
                <a:gd name="connsiteX28" fmla="*/ 700548 w 700548"/>
                <a:gd name="connsiteY28" fmla="*/ 294968 h 501445"/>
                <a:gd name="connsiteX29" fmla="*/ 693174 w 700548"/>
                <a:gd name="connsiteY29" fmla="*/ 199103 h 501445"/>
                <a:gd name="connsiteX30" fmla="*/ 663677 w 700548"/>
                <a:gd name="connsiteY30" fmla="*/ 140110 h 501445"/>
                <a:gd name="connsiteX31" fmla="*/ 626806 w 700548"/>
                <a:gd name="connsiteY31" fmla="*/ 103239 h 501445"/>
                <a:gd name="connsiteX32" fmla="*/ 589935 w 700548"/>
                <a:gd name="connsiteY32" fmla="*/ 73742 h 501445"/>
                <a:gd name="connsiteX33" fmla="*/ 560439 w 700548"/>
                <a:gd name="connsiteY33" fmla="*/ 51620 h 501445"/>
                <a:gd name="connsiteX34" fmla="*/ 486697 w 700548"/>
                <a:gd name="connsiteY34" fmla="*/ 22123 h 501445"/>
                <a:gd name="connsiteX35" fmla="*/ 464574 w 700548"/>
                <a:gd name="connsiteY35" fmla="*/ 14749 h 501445"/>
                <a:gd name="connsiteX36" fmla="*/ 486697 w 700548"/>
                <a:gd name="connsiteY36" fmla="*/ 0 h 501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700548" h="501445">
                  <a:moveTo>
                    <a:pt x="486697" y="0"/>
                  </a:moveTo>
                  <a:cubicBezTo>
                    <a:pt x="406096" y="16120"/>
                    <a:pt x="484428" y="2121"/>
                    <a:pt x="339213" y="14749"/>
                  </a:cubicBezTo>
                  <a:cubicBezTo>
                    <a:pt x="319470" y="16466"/>
                    <a:pt x="299884" y="19665"/>
                    <a:pt x="280219" y="22123"/>
                  </a:cubicBezTo>
                  <a:cubicBezTo>
                    <a:pt x="192735" y="51284"/>
                    <a:pt x="237028" y="41670"/>
                    <a:pt x="147484" y="51620"/>
                  </a:cubicBezTo>
                  <a:lnTo>
                    <a:pt x="103239" y="66368"/>
                  </a:lnTo>
                  <a:lnTo>
                    <a:pt x="81116" y="73742"/>
                  </a:lnTo>
                  <a:cubicBezTo>
                    <a:pt x="50283" y="94298"/>
                    <a:pt x="36408" y="99370"/>
                    <a:pt x="14748" y="125362"/>
                  </a:cubicBezTo>
                  <a:cubicBezTo>
                    <a:pt x="9074" y="132170"/>
                    <a:pt x="4916" y="140110"/>
                    <a:pt x="0" y="147484"/>
                  </a:cubicBezTo>
                  <a:cubicBezTo>
                    <a:pt x="4453" y="205380"/>
                    <a:pt x="2607" y="231658"/>
                    <a:pt x="14748" y="280220"/>
                  </a:cubicBezTo>
                  <a:cubicBezTo>
                    <a:pt x="16633" y="287761"/>
                    <a:pt x="18124" y="295677"/>
                    <a:pt x="22123" y="302342"/>
                  </a:cubicBezTo>
                  <a:cubicBezTo>
                    <a:pt x="25700" y="308304"/>
                    <a:pt x="31955" y="312175"/>
                    <a:pt x="36871" y="317091"/>
                  </a:cubicBezTo>
                  <a:cubicBezTo>
                    <a:pt x="39329" y="324465"/>
                    <a:pt x="39933" y="332746"/>
                    <a:pt x="44245" y="339213"/>
                  </a:cubicBezTo>
                  <a:cubicBezTo>
                    <a:pt x="59259" y="361734"/>
                    <a:pt x="69057" y="360538"/>
                    <a:pt x="88490" y="376084"/>
                  </a:cubicBezTo>
                  <a:cubicBezTo>
                    <a:pt x="113447" y="396049"/>
                    <a:pt x="103386" y="405629"/>
                    <a:pt x="147484" y="420329"/>
                  </a:cubicBezTo>
                  <a:cubicBezTo>
                    <a:pt x="162232" y="425245"/>
                    <a:pt x="178794" y="426455"/>
                    <a:pt x="191729" y="435078"/>
                  </a:cubicBezTo>
                  <a:cubicBezTo>
                    <a:pt x="226829" y="458477"/>
                    <a:pt x="200058" y="444212"/>
                    <a:pt x="243348" y="457200"/>
                  </a:cubicBezTo>
                  <a:cubicBezTo>
                    <a:pt x="258238" y="461667"/>
                    <a:pt x="272258" y="469393"/>
                    <a:pt x="287593" y="471949"/>
                  </a:cubicBezTo>
                  <a:cubicBezTo>
                    <a:pt x="302342" y="474407"/>
                    <a:pt x="317177" y="476391"/>
                    <a:pt x="331839" y="479323"/>
                  </a:cubicBezTo>
                  <a:cubicBezTo>
                    <a:pt x="341777" y="481311"/>
                    <a:pt x="351364" y="484884"/>
                    <a:pt x="361335" y="486697"/>
                  </a:cubicBezTo>
                  <a:cubicBezTo>
                    <a:pt x="378436" y="489806"/>
                    <a:pt x="395810" y="491214"/>
                    <a:pt x="412955" y="494071"/>
                  </a:cubicBezTo>
                  <a:cubicBezTo>
                    <a:pt x="425318" y="496131"/>
                    <a:pt x="437536" y="498987"/>
                    <a:pt x="449826" y="501445"/>
                  </a:cubicBezTo>
                  <a:cubicBezTo>
                    <a:pt x="467032" y="498987"/>
                    <a:pt x="484401" y="497480"/>
                    <a:pt x="501445" y="494071"/>
                  </a:cubicBezTo>
                  <a:cubicBezTo>
                    <a:pt x="509067" y="492547"/>
                    <a:pt x="516094" y="488832"/>
                    <a:pt x="523568" y="486697"/>
                  </a:cubicBezTo>
                  <a:cubicBezTo>
                    <a:pt x="588384" y="468178"/>
                    <a:pt x="522143" y="489630"/>
                    <a:pt x="575187" y="471949"/>
                  </a:cubicBezTo>
                  <a:cubicBezTo>
                    <a:pt x="604561" y="427886"/>
                    <a:pt x="572481" y="466199"/>
                    <a:pt x="612058" y="442452"/>
                  </a:cubicBezTo>
                  <a:cubicBezTo>
                    <a:pt x="618020" y="438875"/>
                    <a:pt x="621377" y="432046"/>
                    <a:pt x="626806" y="427703"/>
                  </a:cubicBezTo>
                  <a:cubicBezTo>
                    <a:pt x="633727" y="422166"/>
                    <a:pt x="641555" y="417871"/>
                    <a:pt x="648929" y="412955"/>
                  </a:cubicBezTo>
                  <a:cubicBezTo>
                    <a:pt x="651447" y="409598"/>
                    <a:pt x="682206" y="369723"/>
                    <a:pt x="685800" y="361336"/>
                  </a:cubicBezTo>
                  <a:cubicBezTo>
                    <a:pt x="689705" y="352224"/>
                    <a:pt x="699236" y="301530"/>
                    <a:pt x="700548" y="294968"/>
                  </a:cubicBezTo>
                  <a:cubicBezTo>
                    <a:pt x="698090" y="263013"/>
                    <a:pt x="698172" y="230760"/>
                    <a:pt x="693174" y="199103"/>
                  </a:cubicBezTo>
                  <a:cubicBezTo>
                    <a:pt x="684509" y="144220"/>
                    <a:pt x="685716" y="167658"/>
                    <a:pt x="663677" y="140110"/>
                  </a:cubicBezTo>
                  <a:cubicBezTo>
                    <a:pt x="635583" y="104993"/>
                    <a:pt x="664733" y="128523"/>
                    <a:pt x="626806" y="103239"/>
                  </a:cubicBezTo>
                  <a:cubicBezTo>
                    <a:pt x="598821" y="61260"/>
                    <a:pt x="628294" y="95661"/>
                    <a:pt x="589935" y="73742"/>
                  </a:cubicBezTo>
                  <a:cubicBezTo>
                    <a:pt x="579264" y="67645"/>
                    <a:pt x="570861" y="58134"/>
                    <a:pt x="560439" y="51620"/>
                  </a:cubicBezTo>
                  <a:cubicBezTo>
                    <a:pt x="535636" y="36118"/>
                    <a:pt x="515069" y="31580"/>
                    <a:pt x="486697" y="22123"/>
                  </a:cubicBezTo>
                  <a:lnTo>
                    <a:pt x="464574" y="14749"/>
                  </a:lnTo>
                  <a:lnTo>
                    <a:pt x="486697" y="0"/>
                  </a:lnTo>
                  <a:close/>
                </a:path>
              </a:pathLst>
            </a:custGeom>
            <a:noFill/>
            <a:ln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err="1"/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A9DCA2E6-AA36-B43A-72C3-5A438E72E367}"/>
                </a:ext>
              </a:extLst>
            </p:cNvPr>
            <p:cNvSpPr txBox="1"/>
            <p:nvPr/>
          </p:nvSpPr>
          <p:spPr>
            <a:xfrm>
              <a:off x="7266039" y="1878490"/>
              <a:ext cx="914400" cy="42694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en-US" sz="10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snappi or any REST clien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839928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6CBDE2-D83E-E023-A220-FECE990FA7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0392" y="1518046"/>
            <a:ext cx="9553902" cy="615553"/>
          </a:xfrm>
        </p:spPr>
        <p:txBody>
          <a:bodyPr/>
          <a:lstStyle/>
          <a:p>
            <a:r>
              <a:rPr lang="en-US"/>
              <a:t>Keysight Elastic Network Generator</a:t>
            </a:r>
          </a:p>
        </p:txBody>
      </p:sp>
    </p:spTree>
    <p:extLst>
      <p:ext uri="{BB962C8B-B14F-4D97-AF65-F5344CB8AC3E}">
        <p14:creationId xmlns:p14="http://schemas.microsoft.com/office/powerpoint/2010/main" val="343002750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Text Placeholder 8">
            <a:extLst>
              <a:ext uri="{FF2B5EF4-FFF2-40B4-BE49-F238E27FC236}">
                <a16:creationId xmlns:a16="http://schemas.microsoft.com/office/drawing/2014/main" id="{2AEC00C3-4B27-3D4E-8DEB-CE550EC386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2179" y="2362200"/>
            <a:ext cx="4733014" cy="3581400"/>
          </a:xfrm>
        </p:spPr>
        <p:txBody>
          <a:bodyPr lIns="0" tIns="0" rIns="0" bIns="0" anchor="t">
            <a:normAutofit/>
          </a:bodyPr>
          <a:lstStyle/>
          <a:p>
            <a:pPr marL="651510" lvl="1" indent="-285750">
              <a:lnSpc>
                <a:spcPct val="150000"/>
              </a:lnSpc>
            </a:pPr>
            <a:r>
              <a:rPr lang="en-US" sz="2000">
                <a:latin typeface="Arial"/>
                <a:cs typeface="Arial"/>
              </a:rPr>
              <a:t>Keysight OTG UX</a:t>
            </a:r>
          </a:p>
          <a:p>
            <a:pPr marL="651510" lvl="1" indent="-285750">
              <a:lnSpc>
                <a:spcPct val="150000"/>
              </a:lnSpc>
            </a:pPr>
            <a:r>
              <a:rPr lang="en-US" sz="2000">
                <a:latin typeface="Arial"/>
                <a:cs typeface="Arial"/>
              </a:rPr>
              <a:t>User-facing API Endpoint</a:t>
            </a:r>
          </a:p>
          <a:p>
            <a:pPr marL="651510" lvl="1" indent="-285750">
              <a:lnSpc>
                <a:spcPct val="150000"/>
              </a:lnSpc>
            </a:pPr>
            <a:r>
              <a:rPr lang="en-US" sz="2000">
                <a:latin typeface="Arial"/>
                <a:cs typeface="Arial"/>
              </a:rPr>
              <a:t>Write test once, run anywhere</a:t>
            </a:r>
          </a:p>
        </p:txBody>
      </p:sp>
      <p:sp>
        <p:nvSpPr>
          <p:cNvPr id="117" name="Text Placeholder 9">
            <a:extLst>
              <a:ext uri="{FF2B5EF4-FFF2-40B4-BE49-F238E27FC236}">
                <a16:creationId xmlns:a16="http://schemas.microsoft.com/office/drawing/2014/main" id="{2993EA0B-E079-4D4D-A702-9641931886D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2179" y="1066825"/>
            <a:ext cx="3710353" cy="966210"/>
          </a:xfrm>
        </p:spPr>
        <p:txBody>
          <a:bodyPr>
            <a:normAutofit lnSpcReduction="10000"/>
          </a:bodyPr>
          <a:lstStyle/>
          <a:p>
            <a:r>
              <a:rPr lang="en-US"/>
              <a:t>Keysight Elastic Network Generator</a:t>
            </a:r>
          </a:p>
        </p:txBody>
      </p:sp>
      <p:cxnSp>
        <p:nvCxnSpPr>
          <p:cNvPr id="267" name="Straight Connector 266">
            <a:extLst>
              <a:ext uri="{FF2B5EF4-FFF2-40B4-BE49-F238E27FC236}">
                <a16:creationId xmlns:a16="http://schemas.microsoft.com/office/drawing/2014/main" id="{D5BC0DB7-87B2-DD49-A364-C2C025F95BAF}"/>
              </a:ext>
            </a:extLst>
          </p:cNvPr>
          <p:cNvCxnSpPr>
            <a:cxnSpLocks/>
          </p:cNvCxnSpPr>
          <p:nvPr/>
        </p:nvCxnSpPr>
        <p:spPr>
          <a:xfrm>
            <a:off x="0" y="1999401"/>
            <a:ext cx="4173855" cy="0"/>
          </a:xfrm>
          <a:prstGeom prst="line">
            <a:avLst/>
          </a:prstGeom>
          <a:ln w="101600">
            <a:solidFill>
              <a:srgbClr val="E9002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BD22525F-214C-72E7-0AE1-BBD668FC9B8A}"/>
              </a:ext>
            </a:extLst>
          </p:cNvPr>
          <p:cNvSpPr txBox="1"/>
          <p:nvPr/>
        </p:nvSpPr>
        <p:spPr>
          <a:xfrm>
            <a:off x="6123257" y="5306737"/>
            <a:ext cx="1251216" cy="49244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Generic Comput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F67DC2B-2F82-5F67-B7F7-A5C93FEE521E}"/>
              </a:ext>
            </a:extLst>
          </p:cNvPr>
          <p:cNvSpPr txBox="1"/>
          <p:nvPr/>
        </p:nvSpPr>
        <p:spPr>
          <a:xfrm>
            <a:off x="10253188" y="5306736"/>
            <a:ext cx="1262461" cy="492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urpose build CPU+FPGA</a:t>
            </a:r>
          </a:p>
        </p:txBody>
      </p:sp>
      <p:grpSp>
        <p:nvGrpSpPr>
          <p:cNvPr id="67" name="Group 66">
            <a:extLst>
              <a:ext uri="{FF2B5EF4-FFF2-40B4-BE49-F238E27FC236}">
                <a16:creationId xmlns:a16="http://schemas.microsoft.com/office/drawing/2014/main" id="{2431AFE6-8C87-54E9-7955-899053EC92DF}"/>
              </a:ext>
            </a:extLst>
          </p:cNvPr>
          <p:cNvGrpSpPr/>
          <p:nvPr/>
        </p:nvGrpSpPr>
        <p:grpSpPr>
          <a:xfrm>
            <a:off x="6052032" y="762000"/>
            <a:ext cx="5875798" cy="4541897"/>
            <a:chOff x="6052032" y="762000"/>
            <a:chExt cx="5875798" cy="4541897"/>
          </a:xfrm>
        </p:grpSpPr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DB4798AD-0430-DC5C-34A9-8AC4B3EAB4D4}"/>
                </a:ext>
              </a:extLst>
            </p:cNvPr>
            <p:cNvGrpSpPr/>
            <p:nvPr/>
          </p:nvGrpSpPr>
          <p:grpSpPr>
            <a:xfrm>
              <a:off x="10038511" y="3589397"/>
              <a:ext cx="1714500" cy="1714500"/>
              <a:chOff x="10038511" y="3589397"/>
              <a:chExt cx="1714500" cy="1714500"/>
            </a:xfrm>
          </p:grpSpPr>
          <p:pic>
            <p:nvPicPr>
              <p:cNvPr id="64" name="Graphic 63">
                <a:extLst>
                  <a:ext uri="{FF2B5EF4-FFF2-40B4-BE49-F238E27FC236}">
                    <a16:creationId xmlns:a16="http://schemas.microsoft.com/office/drawing/2014/main" id="{B7B8E08F-7F0E-B063-AAC0-815CCDE1D86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10038511" y="3589397"/>
                <a:ext cx="1714500" cy="1714500"/>
              </a:xfrm>
              <a:prstGeom prst="rect">
                <a:avLst/>
              </a:prstGeom>
            </p:spPr>
          </p:pic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682753C2-E11D-5853-023E-8EB82CE72FF5}"/>
                  </a:ext>
                </a:extLst>
              </p:cNvPr>
              <p:cNvSpPr txBox="1"/>
              <p:nvPr/>
            </p:nvSpPr>
            <p:spPr>
              <a:xfrm>
                <a:off x="10190816" y="4811454"/>
                <a:ext cx="1471981" cy="49244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Ixia Chassis &amp; Appliances</a:t>
                </a:r>
              </a:p>
            </p:txBody>
          </p:sp>
        </p:grpSp>
        <p:cxnSp>
          <p:nvCxnSpPr>
            <p:cNvPr id="5" name="Straight Arrow Connector 4">
              <a:extLst>
                <a:ext uri="{FF2B5EF4-FFF2-40B4-BE49-F238E27FC236}">
                  <a16:creationId xmlns:a16="http://schemas.microsoft.com/office/drawing/2014/main" id="{87C37495-CEC0-C2A0-D6C5-AFF97CE31146}"/>
                </a:ext>
              </a:extLst>
            </p:cNvPr>
            <p:cNvCxnSpPr>
              <a:cxnSpLocks/>
            </p:cNvCxnSpPr>
            <p:nvPr/>
          </p:nvCxnSpPr>
          <p:spPr>
            <a:xfrm>
              <a:off x="8685047" y="2996388"/>
              <a:ext cx="2199372" cy="1078361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Arrow Connector 26">
              <a:extLst>
                <a:ext uri="{FF2B5EF4-FFF2-40B4-BE49-F238E27FC236}">
                  <a16:creationId xmlns:a16="http://schemas.microsoft.com/office/drawing/2014/main" id="{6951EBCA-4122-5260-2553-97DD5163E064}"/>
                </a:ext>
              </a:extLst>
            </p:cNvPr>
            <p:cNvCxnSpPr>
              <a:stCxn id="28" idx="2"/>
            </p:cNvCxnSpPr>
            <p:nvPr/>
          </p:nvCxnSpPr>
          <p:spPr>
            <a:xfrm flipH="1">
              <a:off x="8667039" y="2121928"/>
              <a:ext cx="1" cy="535656"/>
            </a:xfrm>
            <a:prstGeom prst="straightConnector1">
              <a:avLst/>
            </a:prstGeom>
            <a:ln>
              <a:solidFill>
                <a:srgbClr val="0070C0"/>
              </a:solidFill>
              <a:tailEnd type="triangl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Document 27">
              <a:extLst>
                <a:ext uri="{FF2B5EF4-FFF2-40B4-BE49-F238E27FC236}">
                  <a16:creationId xmlns:a16="http://schemas.microsoft.com/office/drawing/2014/main" id="{156B4314-7D5B-60A1-0F68-3A46A24F01F8}"/>
                </a:ext>
              </a:extLst>
            </p:cNvPr>
            <p:cNvSpPr/>
            <p:nvPr/>
          </p:nvSpPr>
          <p:spPr>
            <a:xfrm>
              <a:off x="8245917" y="1284278"/>
              <a:ext cx="842245" cy="896948"/>
            </a:xfrm>
            <a:prstGeom prst="flowChartDocument">
              <a:avLst/>
            </a:prstGeom>
            <a:ln>
              <a:solidFill>
                <a:srgbClr val="0070C0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OTG</a:t>
              </a:r>
            </a:p>
          </p:txBody>
        </p:sp>
        <p:cxnSp>
          <p:nvCxnSpPr>
            <p:cNvPr id="23" name="Straight Arrow Connector 22">
              <a:extLst>
                <a:ext uri="{FF2B5EF4-FFF2-40B4-BE49-F238E27FC236}">
                  <a16:creationId xmlns:a16="http://schemas.microsoft.com/office/drawing/2014/main" id="{910D4C4D-17CD-5975-76C2-7E24D8B95B3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748865" y="3025994"/>
              <a:ext cx="1924839" cy="1064613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4DE86905-7199-6E58-D4F4-79A0A72CAEBA}"/>
                </a:ext>
              </a:extLst>
            </p:cNvPr>
            <p:cNvSpPr txBox="1"/>
            <p:nvPr/>
          </p:nvSpPr>
          <p:spPr>
            <a:xfrm>
              <a:off x="6215469" y="4815550"/>
              <a:ext cx="1066792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xia-c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797038E0-DDC8-92A3-CABA-CC1E81DA14C4}"/>
                </a:ext>
              </a:extLst>
            </p:cNvPr>
            <p:cNvSpPr txBox="1"/>
            <p:nvPr/>
          </p:nvSpPr>
          <p:spPr>
            <a:xfrm>
              <a:off x="8921941" y="2817116"/>
              <a:ext cx="3005889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lastic Network Generator</a:t>
              </a:r>
            </a:p>
          </p:txBody>
        </p:sp>
        <p:sp>
          <p:nvSpPr>
            <p:cNvPr id="38" name="Rounded Rectangle 37">
              <a:extLst>
                <a:ext uri="{FF2B5EF4-FFF2-40B4-BE49-F238E27FC236}">
                  <a16:creationId xmlns:a16="http://schemas.microsoft.com/office/drawing/2014/main" id="{0F5041CE-93BE-AB97-7737-3DBACF068A68}"/>
                </a:ext>
              </a:extLst>
            </p:cNvPr>
            <p:cNvSpPr/>
            <p:nvPr/>
          </p:nvSpPr>
          <p:spPr>
            <a:xfrm>
              <a:off x="7556704" y="762000"/>
              <a:ext cx="2234000" cy="522278"/>
            </a:xfrm>
            <a:prstGeom prst="roundRect">
              <a:avLst/>
            </a:prstGeom>
            <a:ln/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/>
                <a:t>Test Program</a:t>
              </a:r>
            </a:p>
          </p:txBody>
        </p:sp>
        <p:pic>
          <p:nvPicPr>
            <p:cNvPr id="33" name="Graphic 32">
              <a:extLst>
                <a:ext uri="{FF2B5EF4-FFF2-40B4-BE49-F238E27FC236}">
                  <a16:creationId xmlns:a16="http://schemas.microsoft.com/office/drawing/2014/main" id="{8F5895E2-BF8A-3E49-49F9-D51B04232C5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8343126" y="2654467"/>
              <a:ext cx="683842" cy="683842"/>
            </a:xfrm>
            <a:prstGeom prst="rect">
              <a:avLst/>
            </a:prstGeom>
          </p:spPr>
        </p:pic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6F315F1D-63DE-FFAE-D8A4-24035146F40B}"/>
                </a:ext>
              </a:extLst>
            </p:cNvPr>
            <p:cNvGrpSpPr/>
            <p:nvPr/>
          </p:nvGrpSpPr>
          <p:grpSpPr>
            <a:xfrm>
              <a:off x="6052032" y="3727621"/>
              <a:ext cx="1382323" cy="1382323"/>
              <a:chOff x="7993884" y="3726554"/>
              <a:chExt cx="1382323" cy="1382323"/>
            </a:xfrm>
          </p:grpSpPr>
          <p:pic>
            <p:nvPicPr>
              <p:cNvPr id="57" name="Graphic 56">
                <a:extLst>
                  <a:ext uri="{FF2B5EF4-FFF2-40B4-BE49-F238E27FC236}">
                    <a16:creationId xmlns:a16="http://schemas.microsoft.com/office/drawing/2014/main" id="{F5EBE504-C682-96CE-67EE-61ABF4C962C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7993884" y="3726554"/>
                <a:ext cx="1382323" cy="1382323"/>
              </a:xfrm>
              <a:prstGeom prst="rect">
                <a:avLst/>
              </a:prstGeom>
            </p:spPr>
          </p:pic>
          <p:pic>
            <p:nvPicPr>
              <p:cNvPr id="59" name="Graphic 58">
                <a:extLst>
                  <a:ext uri="{FF2B5EF4-FFF2-40B4-BE49-F238E27FC236}">
                    <a16:creationId xmlns:a16="http://schemas.microsoft.com/office/drawing/2014/main" id="{F2A2F1CC-B8A0-FB1D-A4BC-525BCD10A86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8586447" y="4438057"/>
                <a:ext cx="186158" cy="186158"/>
              </a:xfrm>
              <a:prstGeom prst="rect">
                <a:avLst/>
              </a:prstGeom>
            </p:spPr>
          </p:pic>
          <p:pic>
            <p:nvPicPr>
              <p:cNvPr id="60" name="Graphic 59">
                <a:extLst>
                  <a:ext uri="{FF2B5EF4-FFF2-40B4-BE49-F238E27FC236}">
                    <a16:creationId xmlns:a16="http://schemas.microsoft.com/office/drawing/2014/main" id="{C4A74B51-9A17-B8C9-E719-C1F4CA93566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8850951" y="4446647"/>
                <a:ext cx="141981" cy="141981"/>
              </a:xfrm>
              <a:prstGeom prst="rect">
                <a:avLst/>
              </a:prstGeom>
            </p:spPr>
          </p:pic>
          <p:pic>
            <p:nvPicPr>
              <p:cNvPr id="61" name="Graphic 60">
                <a:extLst>
                  <a:ext uri="{FF2B5EF4-FFF2-40B4-BE49-F238E27FC236}">
                    <a16:creationId xmlns:a16="http://schemas.microsoft.com/office/drawing/2014/main" id="{0209C19D-27F1-9193-2AD0-C3F3036EFBB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8383046" y="4446647"/>
                <a:ext cx="141981" cy="141981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892740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1FDC6BC-B8F5-75A8-A781-CB3F7B10EA5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85800" y="1536700"/>
            <a:ext cx="10640085" cy="3784600"/>
          </a:xfrm>
        </p:spPr>
        <p:txBody>
          <a:bodyPr/>
          <a:lstStyle/>
          <a:p>
            <a:r>
              <a:rPr lang="en-US" sz="1400" dirty="0"/>
              <a:t>Docs: </a:t>
            </a:r>
            <a:r>
              <a:rPr lang="en-US" sz="1400" dirty="0">
                <a:hlinkClick r:id="rId2"/>
              </a:rPr>
              <a:t>https://ixia-c.dev/</a:t>
            </a:r>
            <a:r>
              <a:rPr lang="en-US" sz="1400" dirty="0"/>
              <a:t> </a:t>
            </a:r>
          </a:p>
          <a:p>
            <a:r>
              <a:rPr lang="en-US" sz="1400" dirty="0"/>
              <a:t>OTG GitHub Repository: </a:t>
            </a:r>
            <a:r>
              <a:rPr lang="en-US" sz="1400" dirty="0">
                <a:hlinkClick r:id="rId3"/>
              </a:rPr>
              <a:t>https://github.com/open-traffic-generator</a:t>
            </a:r>
            <a:endParaRPr lang="en-US" sz="1400" dirty="0"/>
          </a:p>
          <a:p>
            <a:r>
              <a:rPr lang="en-US" sz="1400" dirty="0"/>
              <a:t>Hands on learning exercises: </a:t>
            </a:r>
            <a:r>
              <a:rPr lang="en-US" sz="1400" dirty="0">
                <a:hlinkClick r:id="rId4"/>
              </a:rPr>
              <a:t>https://github.com/open-traffic-generator/ac2-workshop</a:t>
            </a:r>
            <a:r>
              <a:rPr lang="en-US" sz="1400" dirty="0"/>
              <a:t> </a:t>
            </a:r>
          </a:p>
          <a:p>
            <a:r>
              <a:rPr lang="en-US" sz="1400" dirty="0"/>
              <a:t>OTG Examples: </a:t>
            </a:r>
            <a:r>
              <a:rPr lang="en-US" sz="1400" dirty="0">
                <a:hlinkClick r:id="rId5"/>
              </a:rPr>
              <a:t>https://github.com/open-traffic-generator/otg-examples</a:t>
            </a:r>
            <a:endParaRPr lang="en-US" sz="1400" dirty="0"/>
          </a:p>
          <a:p>
            <a:r>
              <a:rPr lang="en-US" sz="1400" dirty="0"/>
              <a:t>Quick start with Ixia-c: </a:t>
            </a:r>
            <a:r>
              <a:rPr lang="en-US" sz="1400" dirty="0">
                <a:hlinkClick r:id="rId6"/>
              </a:rPr>
              <a:t>https://github.com/open-traffic-generator/conformance</a:t>
            </a:r>
            <a:endParaRPr lang="en-US" sz="1400" dirty="0"/>
          </a:p>
          <a:p>
            <a:r>
              <a:rPr lang="en-US" sz="1400" dirty="0"/>
              <a:t>Labs (with deployments on different environments):</a:t>
            </a:r>
          </a:p>
          <a:p>
            <a:pPr lvl="1"/>
            <a:r>
              <a:rPr lang="en-US" sz="1200" b="0" i="0" u="sng" dirty="0">
                <a:effectLst/>
                <a:highlight>
                  <a:srgbClr val="FFFFFF"/>
                </a:highlight>
                <a:latin typeface="-apple-system"/>
                <a:hlinkClick r:id="rId7"/>
              </a:rPr>
              <a:t>B2B Ixia-c Traffic</a:t>
            </a:r>
            <a:endParaRPr lang="en-US" sz="1200" b="0" i="0" u="sng" dirty="0">
              <a:effectLst/>
              <a:highlight>
                <a:srgbClr val="FFFFFF"/>
              </a:highlight>
              <a:latin typeface="-apple-system"/>
            </a:endParaRPr>
          </a:p>
          <a:p>
            <a:pPr lvl="1"/>
            <a:r>
              <a:rPr lang="en-US" sz="1200" b="0" i="0" u="sng" dirty="0">
                <a:effectLst/>
                <a:highlight>
                  <a:srgbClr val="F6F8FA"/>
                </a:highlight>
                <a:latin typeface="-apple-system"/>
                <a:hlinkClick r:id="rId8"/>
              </a:rPr>
              <a:t>Static B2B LAG</a:t>
            </a:r>
            <a:endParaRPr lang="en-US" sz="1200" b="0" i="0" u="sng" dirty="0">
              <a:effectLst/>
              <a:highlight>
                <a:srgbClr val="F6F8FA"/>
              </a:highlight>
              <a:latin typeface="-apple-system"/>
            </a:endParaRPr>
          </a:p>
          <a:p>
            <a:pPr lvl="1"/>
            <a:r>
              <a:rPr lang="en-US" sz="1200" b="0" i="0" u="sng" dirty="0">
                <a:effectLst/>
                <a:highlight>
                  <a:srgbClr val="FFFFFF"/>
                </a:highlight>
                <a:latin typeface="-apple-system"/>
                <a:hlinkClick r:id="rId9"/>
              </a:rPr>
              <a:t>B2B IxOS Hardware</a:t>
            </a:r>
            <a:endParaRPr lang="en-US" sz="1200" u="sng" dirty="0">
              <a:highlight>
                <a:srgbClr val="F6F8FA"/>
              </a:highlight>
              <a:latin typeface="-apple-system"/>
            </a:endParaRPr>
          </a:p>
          <a:p>
            <a:pPr lvl="1"/>
            <a:r>
              <a:rPr lang="en-US" sz="1200" dirty="0">
                <a:highlight>
                  <a:srgbClr val="F6F8FA"/>
                </a:highlight>
                <a:latin typeface="-apple-system"/>
              </a:rPr>
              <a:t>More labs: </a:t>
            </a:r>
            <a:r>
              <a:rPr lang="en-US" sz="1200" u="sng" dirty="0">
                <a:highlight>
                  <a:srgbClr val="F6F8FA"/>
                </a:highlight>
                <a:latin typeface="-apple-system"/>
              </a:rPr>
              <a:t>https://</a:t>
            </a:r>
            <a:r>
              <a:rPr lang="en-US" sz="1200" u="sng" dirty="0" err="1">
                <a:highlight>
                  <a:srgbClr val="F6F8FA"/>
                </a:highlight>
                <a:latin typeface="-apple-system"/>
              </a:rPr>
              <a:t>github.com</a:t>
            </a:r>
            <a:r>
              <a:rPr lang="en-US" sz="1200" u="sng" dirty="0">
                <a:highlight>
                  <a:srgbClr val="F6F8FA"/>
                </a:highlight>
                <a:latin typeface="-apple-system"/>
              </a:rPr>
              <a:t>/open-traffic-generator/</a:t>
            </a:r>
            <a:r>
              <a:rPr lang="en-US" sz="1200" u="sng" dirty="0" err="1">
                <a:highlight>
                  <a:srgbClr val="F6F8FA"/>
                </a:highlight>
                <a:latin typeface="-apple-system"/>
              </a:rPr>
              <a:t>otg-examples#reference</a:t>
            </a:r>
            <a:endParaRPr lang="en-US" sz="1200" b="0" i="0" u="sng" dirty="0">
              <a:effectLst/>
              <a:highlight>
                <a:srgbClr val="F6F8FA"/>
              </a:highlight>
              <a:latin typeface="-apple-system"/>
            </a:endParaRPr>
          </a:p>
          <a:p>
            <a:r>
              <a:rPr lang="en-US" sz="1400" dirty="0"/>
              <a:t>Ixia-c Slack channel: </a:t>
            </a:r>
            <a:r>
              <a:rPr lang="en-US" sz="1400" dirty="0">
                <a:highlight>
                  <a:srgbClr val="F6F8FA"/>
                </a:highlight>
                <a:latin typeface="-apple-system"/>
                <a:hlinkClick r:id="rId10"/>
              </a:rPr>
              <a:t>https://join.slack.com/t/ixia-c/shared_invite/zt-2p11e5yua-u3o1aWzlJcjJquSAqoDk2Q</a:t>
            </a:r>
            <a:r>
              <a:rPr lang="en-US" sz="1400" dirty="0">
                <a:highlight>
                  <a:srgbClr val="F6F8FA"/>
                </a:highlight>
                <a:latin typeface="-apple-system"/>
              </a:rPr>
              <a:t> </a:t>
            </a:r>
            <a:endParaRPr lang="en-US" sz="1400" b="0" i="0" dirty="0">
              <a:effectLst/>
              <a:highlight>
                <a:srgbClr val="F6F8FA"/>
              </a:highlight>
              <a:latin typeface="-apple-system"/>
            </a:endParaRPr>
          </a:p>
          <a:p>
            <a:pPr lvl="1"/>
            <a:endParaRPr lang="en-US" sz="1200" b="0" i="0" u="sng" dirty="0">
              <a:effectLst/>
              <a:highlight>
                <a:srgbClr val="F6F8FA"/>
              </a:highlight>
              <a:latin typeface="-apple-system"/>
            </a:endParaRPr>
          </a:p>
          <a:p>
            <a:pPr marL="0" indent="0">
              <a:buNone/>
            </a:pPr>
            <a:endParaRPr lang="en-US" sz="1400" b="0" i="0" u="sng" dirty="0">
              <a:effectLst/>
              <a:highlight>
                <a:srgbClr val="F6F8FA"/>
              </a:highlight>
              <a:latin typeface="-apple-system"/>
            </a:endParaRPr>
          </a:p>
          <a:p>
            <a:pPr lvl="1"/>
            <a:endParaRPr lang="en-US" sz="1200" dirty="0"/>
          </a:p>
          <a:p>
            <a:pPr marL="0" indent="0">
              <a:buNone/>
            </a:pPr>
            <a:endParaRPr lang="en-US" sz="1400" dirty="0"/>
          </a:p>
          <a:p>
            <a:pPr marL="0" indent="0">
              <a:buNone/>
            </a:pPr>
            <a:endParaRPr lang="en-US" sz="1400" dirty="0"/>
          </a:p>
          <a:p>
            <a:endParaRPr lang="en-US" sz="140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EC128F5-3A53-FC2F-2A68-9410284E81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NG/OTG learning path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09BB58C-E6F6-8BED-7D4D-4BF9860326F8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r>
              <a:rPr lang="en-US"/>
              <a:t>Keysight Elastic Network Generator</a:t>
            </a:r>
          </a:p>
        </p:txBody>
      </p:sp>
      <p:pic>
        <p:nvPicPr>
          <p:cNvPr id="1026" name="Picture 2" descr="@open-traffic-generator">
            <a:extLst>
              <a:ext uri="{FF2B5EF4-FFF2-40B4-BE49-F238E27FC236}">
                <a16:creationId xmlns:a16="http://schemas.microsoft.com/office/drawing/2014/main" id="{FD1329F4-9310-EBD7-92E0-4C9143AAEC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71282" y="1307231"/>
            <a:ext cx="2540000" cy="2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3114776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A970D26-7B05-7651-F9A8-7E0D75CECB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814491-0DFA-2EA4-5B0B-15EFE6F44B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0392" y="1086356"/>
            <a:ext cx="9553902" cy="615553"/>
          </a:xfrm>
        </p:spPr>
        <p:txBody>
          <a:bodyPr/>
          <a:lstStyle/>
          <a:p>
            <a:r>
              <a:rPr lang="en-US" dirty="0" err="1"/>
              <a:t>CyPerf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304761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87D01F7A-0A0E-1641-9476-90C1880A64C1}"/>
              </a:ext>
            </a:extLst>
          </p:cNvPr>
          <p:cNvSpPr/>
          <p:nvPr/>
        </p:nvSpPr>
        <p:spPr>
          <a:xfrm>
            <a:off x="0" y="1849340"/>
            <a:ext cx="12192000" cy="2123090"/>
          </a:xfrm>
          <a:prstGeom prst="rect">
            <a:avLst/>
          </a:prstGeom>
          <a:solidFill>
            <a:schemeClr val="tx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D21B30E7-FBAD-EA40-B964-3EC9D28B4A4B}"/>
              </a:ext>
            </a:extLst>
          </p:cNvPr>
          <p:cNvCxnSpPr/>
          <p:nvPr/>
        </p:nvCxnSpPr>
        <p:spPr>
          <a:xfrm>
            <a:off x="0" y="1629104"/>
            <a:ext cx="12192000" cy="0"/>
          </a:xfrm>
          <a:prstGeom prst="line">
            <a:avLst/>
          </a:prstGeom>
          <a:ln w="571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DEEF764A-F3B7-364D-AF3D-88332C6BB0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103" y="548640"/>
            <a:ext cx="10515600" cy="613309"/>
          </a:xfrm>
        </p:spPr>
        <p:txBody>
          <a:bodyPr/>
          <a:lstStyle/>
          <a:p>
            <a:r>
              <a:rPr lang="en-US" b="1" dirty="0">
                <a:solidFill>
                  <a:srgbClr val="FF0000"/>
                </a:solidFill>
              </a:rPr>
              <a:t>The CyPerf Advantage</a:t>
            </a:r>
          </a:p>
        </p:txBody>
      </p:sp>
      <p:pic>
        <p:nvPicPr>
          <p:cNvPr id="127" name="Graphic 126">
            <a:extLst>
              <a:ext uri="{FF2B5EF4-FFF2-40B4-BE49-F238E27FC236}">
                <a16:creationId xmlns:a16="http://schemas.microsoft.com/office/drawing/2014/main" id="{89A5FD7D-529A-9445-8CEA-568E63A7E3B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7146" y="1653745"/>
            <a:ext cx="2587080" cy="2587078"/>
          </a:xfrm>
          <a:prstGeom prst="rect">
            <a:avLst/>
          </a:prstGeom>
        </p:spPr>
      </p:pic>
      <p:pic>
        <p:nvPicPr>
          <p:cNvPr id="129" name="Graphic 128">
            <a:extLst>
              <a:ext uri="{FF2B5EF4-FFF2-40B4-BE49-F238E27FC236}">
                <a16:creationId xmlns:a16="http://schemas.microsoft.com/office/drawing/2014/main" id="{872482EB-CC65-B641-998B-3CEF87DA59C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577286" y="2008707"/>
            <a:ext cx="2020290" cy="2020290"/>
          </a:xfrm>
          <a:prstGeom prst="rect">
            <a:avLst/>
          </a:prstGeom>
        </p:spPr>
      </p:pic>
      <p:sp>
        <p:nvSpPr>
          <p:cNvPr id="15" name="Text Placeholder 68">
            <a:extLst>
              <a:ext uri="{FF2B5EF4-FFF2-40B4-BE49-F238E27FC236}">
                <a16:creationId xmlns:a16="http://schemas.microsoft.com/office/drawing/2014/main" id="{366836DC-A3D3-8C47-9453-92DF5991EDAA}"/>
              </a:ext>
            </a:extLst>
          </p:cNvPr>
          <p:cNvSpPr txBox="1">
            <a:spLocks/>
          </p:cNvSpPr>
          <p:nvPr/>
        </p:nvSpPr>
        <p:spPr>
          <a:xfrm>
            <a:off x="279918" y="4394711"/>
            <a:ext cx="2664051" cy="166712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b="1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5760" indent="-18288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0352" indent="-164592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 spc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687388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 cap="none" spc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858837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 lang="en-US" sz="1200" b="0" kern="1200" cap="none" spc="0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spc="60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>
                <a:solidFill>
                  <a:srgbClr val="FF0000"/>
                </a:solidFill>
                <a:latin typeface="Arial Regular" panose="020B0704020202090204" charset="0"/>
                <a:cs typeface="Arial Regular" panose="020B0704020202090204" charset="0"/>
                <a:sym typeface="+mn-ea"/>
              </a:rPr>
              <a:t>Installable in a Wide Variety of Environments</a:t>
            </a:r>
          </a:p>
          <a:p>
            <a:r>
              <a:rPr lang="en-US" sz="2000" dirty="0">
                <a:solidFill>
                  <a:srgbClr val="FF0000"/>
                </a:solidFill>
                <a:latin typeface="Arial Regular" panose="020B0704020202090204" charset="0"/>
                <a:sym typeface="+mn-ea"/>
              </a:rPr>
              <a:t>(VM, Docker, Cloud, Off-the-Shelf)</a:t>
            </a:r>
            <a:endParaRPr lang="en-US" sz="2000" dirty="0">
              <a:solidFill>
                <a:srgbClr val="FF0000"/>
              </a:solidFill>
            </a:endParaRPr>
          </a:p>
        </p:txBody>
      </p:sp>
      <p:sp>
        <p:nvSpPr>
          <p:cNvPr id="16" name="Text Placeholder 69">
            <a:extLst>
              <a:ext uri="{FF2B5EF4-FFF2-40B4-BE49-F238E27FC236}">
                <a16:creationId xmlns:a16="http://schemas.microsoft.com/office/drawing/2014/main" id="{19DD833A-B6D9-9349-86F1-285F16FA1E0A}"/>
              </a:ext>
            </a:extLst>
          </p:cNvPr>
          <p:cNvSpPr txBox="1">
            <a:spLocks/>
          </p:cNvSpPr>
          <p:nvPr/>
        </p:nvSpPr>
        <p:spPr>
          <a:xfrm>
            <a:off x="3401911" y="4435909"/>
            <a:ext cx="2259536" cy="615553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b="1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5760" indent="-18288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0352" indent="-164592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 spc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687388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 cap="none" spc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858837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 lang="en-US" sz="1200" b="0" kern="1200" cap="none" spc="0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spc="60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>
                <a:solidFill>
                  <a:srgbClr val="FF0000"/>
                </a:solidFill>
                <a:latin typeface="Arial Regular" panose="020B0704020202090204" charset="0"/>
                <a:cs typeface="Arial Regular" panose="020B0704020202090204" charset="0"/>
                <a:sym typeface="+mn-ea"/>
              </a:rPr>
              <a:t>Highly Performant and Scalable</a:t>
            </a:r>
            <a:endParaRPr lang="en-US" sz="2000" dirty="0">
              <a:solidFill>
                <a:srgbClr val="FF0000"/>
              </a:solidFill>
            </a:endParaRPr>
          </a:p>
        </p:txBody>
      </p:sp>
      <p:sp>
        <p:nvSpPr>
          <p:cNvPr id="17" name="Text Placeholder 75">
            <a:extLst>
              <a:ext uri="{FF2B5EF4-FFF2-40B4-BE49-F238E27FC236}">
                <a16:creationId xmlns:a16="http://schemas.microsoft.com/office/drawing/2014/main" id="{1E287C10-6780-1B4C-95DA-F6EF710FFF40}"/>
              </a:ext>
            </a:extLst>
          </p:cNvPr>
          <p:cNvSpPr txBox="1">
            <a:spLocks/>
          </p:cNvSpPr>
          <p:nvPr/>
        </p:nvSpPr>
        <p:spPr>
          <a:xfrm>
            <a:off x="6258468" y="4499436"/>
            <a:ext cx="2612910" cy="923330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b="1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5760" indent="-18288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0352" indent="-164592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 spc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687388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 cap="none" spc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858837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 lang="en-US" sz="1200" b="0" kern="1200" cap="none" spc="0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spc="60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>
                <a:solidFill>
                  <a:srgbClr val="FF0000"/>
                </a:solidFill>
                <a:latin typeface="Arial Regular" panose="020B0704020202090204" charset="0"/>
                <a:cs typeface="Arial Regular" panose="020B0704020202090204" charset="0"/>
                <a:sym typeface="+mn-ea"/>
              </a:rPr>
              <a:t>Realism of Application and Security Traffic</a:t>
            </a:r>
            <a:endParaRPr lang="en-US" sz="2000" dirty="0">
              <a:solidFill>
                <a:srgbClr val="FF0000"/>
              </a:solidFill>
            </a:endParaRPr>
          </a:p>
        </p:txBody>
      </p:sp>
      <p:sp>
        <p:nvSpPr>
          <p:cNvPr id="18" name="Text Placeholder 77">
            <a:extLst>
              <a:ext uri="{FF2B5EF4-FFF2-40B4-BE49-F238E27FC236}">
                <a16:creationId xmlns:a16="http://schemas.microsoft.com/office/drawing/2014/main" id="{13F96D86-25B2-0A4E-909E-50BC02466ECE}"/>
              </a:ext>
            </a:extLst>
          </p:cNvPr>
          <p:cNvSpPr txBox="1">
            <a:spLocks/>
          </p:cNvSpPr>
          <p:nvPr/>
        </p:nvSpPr>
        <p:spPr>
          <a:xfrm>
            <a:off x="9221747" y="4394711"/>
            <a:ext cx="2572145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b="1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5760" indent="-18288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0352" indent="-164592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 spc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687388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 cap="none" spc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858837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 lang="en-US" sz="1200" b="0" kern="1200" cap="none" spc="0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spc="60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>
                <a:solidFill>
                  <a:srgbClr val="FF0000"/>
                </a:solidFill>
                <a:latin typeface="Arial Regular" panose="020B0704020202090204" charset="0"/>
                <a:cs typeface="Arial Regular" panose="020B0704020202090204" charset="0"/>
                <a:sym typeface="+mn-ea"/>
              </a:rPr>
              <a:t>Summary and Detailed statistics</a:t>
            </a:r>
            <a:endParaRPr lang="en-US" sz="2000" dirty="0">
              <a:solidFill>
                <a:srgbClr val="FF0000"/>
              </a:solidFill>
            </a:endParaRP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B608FC81-B163-A3FD-D7B8-739791FCB32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198492" y="1752719"/>
            <a:ext cx="2462955" cy="2462955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353DD6D2-1A7E-1C65-D88A-72E7A887F79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5971293" y="2014074"/>
            <a:ext cx="2829852" cy="2829852"/>
          </a:xfrm>
          <a:prstGeom prst="rect">
            <a:avLst/>
          </a:prstGeom>
        </p:spPr>
      </p:pic>
      <p:grpSp>
        <p:nvGrpSpPr>
          <p:cNvPr id="19" name="Graphic 30">
            <a:extLst>
              <a:ext uri="{FF2B5EF4-FFF2-40B4-BE49-F238E27FC236}">
                <a16:creationId xmlns:a16="http://schemas.microsoft.com/office/drawing/2014/main" id="{C283927A-6423-31F0-A0F7-A4815ADC3C92}"/>
              </a:ext>
            </a:extLst>
          </p:cNvPr>
          <p:cNvGrpSpPr/>
          <p:nvPr/>
        </p:nvGrpSpPr>
        <p:grpSpPr>
          <a:xfrm>
            <a:off x="6760861" y="1840967"/>
            <a:ext cx="1242083" cy="1244939"/>
            <a:chOff x="6019800" y="2209800"/>
            <a:chExt cx="1714500" cy="1714500"/>
          </a:xfrm>
          <a:solidFill>
            <a:schemeClr val="bg1"/>
          </a:solidFill>
        </p:grpSpPr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2E66332B-06B4-59CF-6240-4E145E0AD032}"/>
                </a:ext>
              </a:extLst>
            </p:cNvPr>
            <p:cNvSpPr/>
            <p:nvPr/>
          </p:nvSpPr>
          <p:spPr>
            <a:xfrm>
              <a:off x="6174200" y="2427446"/>
              <a:ext cx="1333500" cy="1333500"/>
            </a:xfrm>
            <a:custGeom>
              <a:avLst/>
              <a:gdLst>
                <a:gd name="connsiteX0" fmla="*/ 668179 w 1333500"/>
                <a:gd name="connsiteY0" fmla="*/ 1329214 h 1333500"/>
                <a:gd name="connsiteX1" fmla="*/ 7144 w 1333500"/>
                <a:gd name="connsiteY1" fmla="*/ 668179 h 1333500"/>
                <a:gd name="connsiteX2" fmla="*/ 668179 w 1333500"/>
                <a:gd name="connsiteY2" fmla="*/ 7144 h 1333500"/>
                <a:gd name="connsiteX3" fmla="*/ 1329214 w 1333500"/>
                <a:gd name="connsiteY3" fmla="*/ 668179 h 1333500"/>
                <a:gd name="connsiteX4" fmla="*/ 668179 w 1333500"/>
                <a:gd name="connsiteY4" fmla="*/ 1329214 h 1333500"/>
                <a:gd name="connsiteX5" fmla="*/ 668179 w 1333500"/>
                <a:gd name="connsiteY5" fmla="*/ 35719 h 1333500"/>
                <a:gd name="connsiteX6" fmla="*/ 35719 w 1333500"/>
                <a:gd name="connsiteY6" fmla="*/ 668179 h 1333500"/>
                <a:gd name="connsiteX7" fmla="*/ 668179 w 1333500"/>
                <a:gd name="connsiteY7" fmla="*/ 1300639 h 1333500"/>
                <a:gd name="connsiteX8" fmla="*/ 1300639 w 1333500"/>
                <a:gd name="connsiteY8" fmla="*/ 668179 h 1333500"/>
                <a:gd name="connsiteX9" fmla="*/ 668179 w 1333500"/>
                <a:gd name="connsiteY9" fmla="*/ 35719 h 133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33500" h="1333500">
                  <a:moveTo>
                    <a:pt x="668179" y="1329214"/>
                  </a:moveTo>
                  <a:cubicBezTo>
                    <a:pt x="303099" y="1329214"/>
                    <a:pt x="7144" y="1033258"/>
                    <a:pt x="7144" y="668179"/>
                  </a:cubicBezTo>
                  <a:cubicBezTo>
                    <a:pt x="7144" y="303099"/>
                    <a:pt x="303099" y="7144"/>
                    <a:pt x="668179" y="7144"/>
                  </a:cubicBezTo>
                  <a:cubicBezTo>
                    <a:pt x="1033258" y="7144"/>
                    <a:pt x="1329214" y="303099"/>
                    <a:pt x="1329214" y="668179"/>
                  </a:cubicBezTo>
                  <a:cubicBezTo>
                    <a:pt x="1328794" y="1033084"/>
                    <a:pt x="1033084" y="1328794"/>
                    <a:pt x="668179" y="1329214"/>
                  </a:cubicBezTo>
                  <a:close/>
                  <a:moveTo>
                    <a:pt x="668179" y="35719"/>
                  </a:moveTo>
                  <a:cubicBezTo>
                    <a:pt x="318881" y="35719"/>
                    <a:pt x="35719" y="318881"/>
                    <a:pt x="35719" y="668179"/>
                  </a:cubicBezTo>
                  <a:cubicBezTo>
                    <a:pt x="35719" y="1017477"/>
                    <a:pt x="318881" y="1300639"/>
                    <a:pt x="668179" y="1300639"/>
                  </a:cubicBezTo>
                  <a:cubicBezTo>
                    <a:pt x="1017477" y="1300639"/>
                    <a:pt x="1300639" y="1017477"/>
                    <a:pt x="1300639" y="668179"/>
                  </a:cubicBezTo>
                  <a:cubicBezTo>
                    <a:pt x="1300219" y="319055"/>
                    <a:pt x="1017303" y="36139"/>
                    <a:pt x="668179" y="3571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F06DA70D-1380-E196-DA54-F35A08D74695}"/>
                </a:ext>
              </a:extLst>
            </p:cNvPr>
            <p:cNvSpPr/>
            <p:nvPr/>
          </p:nvSpPr>
          <p:spPr>
            <a:xfrm>
              <a:off x="6747224" y="2838641"/>
              <a:ext cx="209550" cy="209550"/>
            </a:xfrm>
            <a:custGeom>
              <a:avLst/>
              <a:gdLst>
                <a:gd name="connsiteX0" fmla="*/ 107442 w 209550"/>
                <a:gd name="connsiteY0" fmla="*/ 207740 h 209550"/>
                <a:gd name="connsiteX1" fmla="*/ 7144 w 209550"/>
                <a:gd name="connsiteY1" fmla="*/ 107442 h 209550"/>
                <a:gd name="connsiteX2" fmla="*/ 107442 w 209550"/>
                <a:gd name="connsiteY2" fmla="*/ 7144 h 209550"/>
                <a:gd name="connsiteX3" fmla="*/ 207740 w 209550"/>
                <a:gd name="connsiteY3" fmla="*/ 107442 h 209550"/>
                <a:gd name="connsiteX4" fmla="*/ 107442 w 209550"/>
                <a:gd name="connsiteY4" fmla="*/ 207740 h 209550"/>
                <a:gd name="connsiteX5" fmla="*/ 107442 w 209550"/>
                <a:gd name="connsiteY5" fmla="*/ 34576 h 209550"/>
                <a:gd name="connsiteX6" fmla="*/ 34576 w 209550"/>
                <a:gd name="connsiteY6" fmla="*/ 107442 h 209550"/>
                <a:gd name="connsiteX7" fmla="*/ 107442 w 209550"/>
                <a:gd name="connsiteY7" fmla="*/ 180308 h 209550"/>
                <a:gd name="connsiteX8" fmla="*/ 180308 w 209550"/>
                <a:gd name="connsiteY8" fmla="*/ 107442 h 209550"/>
                <a:gd name="connsiteX9" fmla="*/ 107442 w 209550"/>
                <a:gd name="connsiteY9" fmla="*/ 34576 h 20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9550" h="209550">
                  <a:moveTo>
                    <a:pt x="107442" y="207740"/>
                  </a:moveTo>
                  <a:cubicBezTo>
                    <a:pt x="52049" y="207740"/>
                    <a:pt x="7144" y="162835"/>
                    <a:pt x="7144" y="107442"/>
                  </a:cubicBezTo>
                  <a:cubicBezTo>
                    <a:pt x="7144" y="52049"/>
                    <a:pt x="52049" y="7144"/>
                    <a:pt x="107442" y="7144"/>
                  </a:cubicBezTo>
                  <a:cubicBezTo>
                    <a:pt x="162835" y="7144"/>
                    <a:pt x="207740" y="52049"/>
                    <a:pt x="207740" y="107442"/>
                  </a:cubicBezTo>
                  <a:cubicBezTo>
                    <a:pt x="207688" y="162813"/>
                    <a:pt x="162813" y="207688"/>
                    <a:pt x="107442" y="207740"/>
                  </a:cubicBezTo>
                  <a:close/>
                  <a:moveTo>
                    <a:pt x="107442" y="34576"/>
                  </a:moveTo>
                  <a:cubicBezTo>
                    <a:pt x="67199" y="34576"/>
                    <a:pt x="34576" y="67199"/>
                    <a:pt x="34576" y="107442"/>
                  </a:cubicBezTo>
                  <a:cubicBezTo>
                    <a:pt x="34576" y="147685"/>
                    <a:pt x="67199" y="180308"/>
                    <a:pt x="107442" y="180308"/>
                  </a:cubicBezTo>
                  <a:cubicBezTo>
                    <a:pt x="147685" y="180308"/>
                    <a:pt x="180308" y="147685"/>
                    <a:pt x="180308" y="107442"/>
                  </a:cubicBezTo>
                  <a:cubicBezTo>
                    <a:pt x="180256" y="67221"/>
                    <a:pt x="147663" y="34628"/>
                    <a:pt x="107442" y="3457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BC1047C8-22D0-DCCB-D4CC-66A677A5DAF5}"/>
                </a:ext>
              </a:extLst>
            </p:cNvPr>
            <p:cNvSpPr/>
            <p:nvPr/>
          </p:nvSpPr>
          <p:spPr>
            <a:xfrm>
              <a:off x="6676397" y="3059832"/>
              <a:ext cx="352425" cy="257175"/>
            </a:xfrm>
            <a:custGeom>
              <a:avLst/>
              <a:gdLst>
                <a:gd name="connsiteX0" fmla="*/ 32442 w 352425"/>
                <a:gd name="connsiteY0" fmla="*/ 249820 h 257175"/>
                <a:gd name="connsiteX1" fmla="*/ 19678 w 352425"/>
                <a:gd name="connsiteY1" fmla="*/ 241057 h 257175"/>
                <a:gd name="connsiteX2" fmla="*/ 113172 w 352425"/>
                <a:gd name="connsiteY2" fmla="*/ 19678 h 257175"/>
                <a:gd name="connsiteX3" fmla="*/ 334551 w 352425"/>
                <a:gd name="connsiteY3" fmla="*/ 113172 h 257175"/>
                <a:gd name="connsiteX4" fmla="*/ 336670 w 352425"/>
                <a:gd name="connsiteY4" fmla="*/ 118661 h 257175"/>
                <a:gd name="connsiteX5" fmla="*/ 348100 w 352425"/>
                <a:gd name="connsiteY5" fmla="*/ 179906 h 257175"/>
                <a:gd name="connsiteX6" fmla="*/ 338575 w 352425"/>
                <a:gd name="connsiteY6" fmla="*/ 235628 h 257175"/>
                <a:gd name="connsiteX7" fmla="*/ 325621 w 352425"/>
                <a:gd name="connsiteY7" fmla="*/ 245153 h 257175"/>
                <a:gd name="connsiteX8" fmla="*/ 32442 w 352425"/>
                <a:gd name="connsiteY8" fmla="*/ 250106 h 257175"/>
                <a:gd name="connsiteX9" fmla="*/ 177984 w 352425"/>
                <a:gd name="connsiteY9" fmla="*/ 37317 h 257175"/>
                <a:gd name="connsiteX10" fmla="*/ 35844 w 352425"/>
                <a:gd name="connsiteY10" fmla="*/ 180924 h 257175"/>
                <a:gd name="connsiteX11" fmla="*/ 42157 w 352425"/>
                <a:gd name="connsiteY11" fmla="*/ 222197 h 257175"/>
                <a:gd name="connsiteX12" fmla="*/ 315715 w 352425"/>
                <a:gd name="connsiteY12" fmla="*/ 217530 h 257175"/>
                <a:gd name="connsiteX13" fmla="*/ 215143 w 352425"/>
                <a:gd name="connsiteY13" fmla="*/ 42282 h 257175"/>
                <a:gd name="connsiteX14" fmla="*/ 177984 w 352425"/>
                <a:gd name="connsiteY14" fmla="*/ 37317 h 257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425" h="257175">
                  <a:moveTo>
                    <a:pt x="32442" y="249820"/>
                  </a:moveTo>
                  <a:cubicBezTo>
                    <a:pt x="26788" y="249809"/>
                    <a:pt x="21720" y="246329"/>
                    <a:pt x="19678" y="241057"/>
                  </a:cubicBezTo>
                  <a:cubicBezTo>
                    <a:pt x="-15636" y="154107"/>
                    <a:pt x="26223" y="54993"/>
                    <a:pt x="113172" y="19678"/>
                  </a:cubicBezTo>
                  <a:cubicBezTo>
                    <a:pt x="200122" y="-15636"/>
                    <a:pt x="299237" y="26223"/>
                    <a:pt x="334551" y="113172"/>
                  </a:cubicBezTo>
                  <a:cubicBezTo>
                    <a:pt x="335289" y="114989"/>
                    <a:pt x="335996" y="116819"/>
                    <a:pt x="336670" y="118661"/>
                  </a:cubicBezTo>
                  <a:cubicBezTo>
                    <a:pt x="344259" y="138187"/>
                    <a:pt x="348135" y="158958"/>
                    <a:pt x="348100" y="179906"/>
                  </a:cubicBezTo>
                  <a:cubicBezTo>
                    <a:pt x="348147" y="198889"/>
                    <a:pt x="344925" y="217738"/>
                    <a:pt x="338575" y="235628"/>
                  </a:cubicBezTo>
                  <a:cubicBezTo>
                    <a:pt x="336766" y="241266"/>
                    <a:pt x="331543" y="245107"/>
                    <a:pt x="325621" y="245153"/>
                  </a:cubicBezTo>
                  <a:lnTo>
                    <a:pt x="32442" y="250106"/>
                  </a:lnTo>
                  <a:close/>
                  <a:moveTo>
                    <a:pt x="177984" y="37317"/>
                  </a:moveTo>
                  <a:cubicBezTo>
                    <a:pt x="99077" y="37722"/>
                    <a:pt x="35439" y="102017"/>
                    <a:pt x="35844" y="180924"/>
                  </a:cubicBezTo>
                  <a:cubicBezTo>
                    <a:pt x="35916" y="194917"/>
                    <a:pt x="38043" y="208823"/>
                    <a:pt x="42157" y="222197"/>
                  </a:cubicBezTo>
                  <a:lnTo>
                    <a:pt x="315715" y="217530"/>
                  </a:lnTo>
                  <a:cubicBezTo>
                    <a:pt x="336337" y="141365"/>
                    <a:pt x="291309" y="62903"/>
                    <a:pt x="215143" y="42282"/>
                  </a:cubicBezTo>
                  <a:cubicBezTo>
                    <a:pt x="203029" y="39002"/>
                    <a:pt x="190535" y="37333"/>
                    <a:pt x="177984" y="373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678E51EB-80E8-4E6B-976A-2C68C62F65C3}"/>
                </a:ext>
              </a:extLst>
            </p:cNvPr>
            <p:cNvSpPr/>
            <p:nvPr/>
          </p:nvSpPr>
          <p:spPr>
            <a:xfrm>
              <a:off x="7025831" y="2891219"/>
              <a:ext cx="152400" cy="152400"/>
            </a:xfrm>
            <a:custGeom>
              <a:avLst/>
              <a:gdLst>
                <a:gd name="connsiteX0" fmla="*/ 79819 w 152400"/>
                <a:gd name="connsiteY0" fmla="*/ 152495 h 152400"/>
                <a:gd name="connsiteX1" fmla="*/ 7144 w 152400"/>
                <a:gd name="connsiteY1" fmla="*/ 79819 h 152400"/>
                <a:gd name="connsiteX2" fmla="*/ 79819 w 152400"/>
                <a:gd name="connsiteY2" fmla="*/ 7144 h 152400"/>
                <a:gd name="connsiteX3" fmla="*/ 152495 w 152400"/>
                <a:gd name="connsiteY3" fmla="*/ 79819 h 152400"/>
                <a:gd name="connsiteX4" fmla="*/ 79819 w 152400"/>
                <a:gd name="connsiteY4" fmla="*/ 152495 h 152400"/>
                <a:gd name="connsiteX5" fmla="*/ 79819 w 152400"/>
                <a:gd name="connsiteY5" fmla="*/ 34576 h 152400"/>
                <a:gd name="connsiteX6" fmla="*/ 34576 w 152400"/>
                <a:gd name="connsiteY6" fmla="*/ 79819 h 152400"/>
                <a:gd name="connsiteX7" fmla="*/ 79819 w 152400"/>
                <a:gd name="connsiteY7" fmla="*/ 125063 h 152400"/>
                <a:gd name="connsiteX8" fmla="*/ 125063 w 152400"/>
                <a:gd name="connsiteY8" fmla="*/ 79819 h 152400"/>
                <a:gd name="connsiteX9" fmla="*/ 79819 w 152400"/>
                <a:gd name="connsiteY9" fmla="*/ 34576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2400" h="152400">
                  <a:moveTo>
                    <a:pt x="79819" y="152495"/>
                  </a:moveTo>
                  <a:cubicBezTo>
                    <a:pt x="39682" y="152495"/>
                    <a:pt x="7144" y="119957"/>
                    <a:pt x="7144" y="79819"/>
                  </a:cubicBezTo>
                  <a:cubicBezTo>
                    <a:pt x="7144" y="39682"/>
                    <a:pt x="39682" y="7144"/>
                    <a:pt x="79819" y="7144"/>
                  </a:cubicBezTo>
                  <a:cubicBezTo>
                    <a:pt x="119957" y="7144"/>
                    <a:pt x="152495" y="39682"/>
                    <a:pt x="152495" y="79819"/>
                  </a:cubicBezTo>
                  <a:cubicBezTo>
                    <a:pt x="152443" y="119935"/>
                    <a:pt x="119935" y="152443"/>
                    <a:pt x="79819" y="152495"/>
                  </a:cubicBezTo>
                  <a:close/>
                  <a:moveTo>
                    <a:pt x="79819" y="34576"/>
                  </a:moveTo>
                  <a:cubicBezTo>
                    <a:pt x="54832" y="34576"/>
                    <a:pt x="34576" y="54832"/>
                    <a:pt x="34576" y="79819"/>
                  </a:cubicBezTo>
                  <a:cubicBezTo>
                    <a:pt x="34576" y="104807"/>
                    <a:pt x="54832" y="125063"/>
                    <a:pt x="79819" y="125063"/>
                  </a:cubicBezTo>
                  <a:cubicBezTo>
                    <a:pt x="104807" y="125063"/>
                    <a:pt x="125063" y="104807"/>
                    <a:pt x="125063" y="79819"/>
                  </a:cubicBezTo>
                  <a:cubicBezTo>
                    <a:pt x="125063" y="54832"/>
                    <a:pt x="104807" y="34576"/>
                    <a:pt x="79819" y="3457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59EC1AFD-17EB-F956-A4CE-3A3310D856ED}"/>
                </a:ext>
              </a:extLst>
            </p:cNvPr>
            <p:cNvSpPr/>
            <p:nvPr/>
          </p:nvSpPr>
          <p:spPr>
            <a:xfrm>
              <a:off x="6999060" y="3061285"/>
              <a:ext cx="228600" cy="180975"/>
            </a:xfrm>
            <a:custGeom>
              <a:avLst/>
              <a:gdLst>
                <a:gd name="connsiteX0" fmla="*/ 60013 w 228600"/>
                <a:gd name="connsiteY0" fmla="*/ 177215 h 180975"/>
                <a:gd name="connsiteX1" fmla="*/ 46297 w 228600"/>
                <a:gd name="connsiteY1" fmla="*/ 164356 h 180975"/>
                <a:gd name="connsiteX2" fmla="*/ 10578 w 228600"/>
                <a:gd name="connsiteY2" fmla="*/ 71964 h 180975"/>
                <a:gd name="connsiteX3" fmla="*/ 9816 w 228600"/>
                <a:gd name="connsiteY3" fmla="*/ 54819 h 180975"/>
                <a:gd name="connsiteX4" fmla="*/ 177921 w 228600"/>
                <a:gd name="connsiteY4" fmla="*/ 31408 h 180975"/>
                <a:gd name="connsiteX5" fmla="*/ 219366 w 228600"/>
                <a:gd name="connsiteY5" fmla="*/ 165309 h 180975"/>
                <a:gd name="connsiteX6" fmla="*/ 206698 w 228600"/>
                <a:gd name="connsiteY6" fmla="*/ 174834 h 180975"/>
                <a:gd name="connsiteX7" fmla="*/ 59822 w 228600"/>
                <a:gd name="connsiteY7" fmla="*/ 177501 h 180975"/>
                <a:gd name="connsiteX8" fmla="*/ 38677 w 228600"/>
                <a:gd name="connsiteY8" fmla="*/ 62915 h 180975"/>
                <a:gd name="connsiteX9" fmla="*/ 72586 w 228600"/>
                <a:gd name="connsiteY9" fmla="*/ 149592 h 180975"/>
                <a:gd name="connsiteX10" fmla="*/ 196411 w 228600"/>
                <a:gd name="connsiteY10" fmla="*/ 147306 h 180975"/>
                <a:gd name="connsiteX11" fmla="*/ 127394 w 228600"/>
                <a:gd name="connsiteY11" fmla="*/ 36041 h 180975"/>
                <a:gd name="connsiteX12" fmla="*/ 38677 w 228600"/>
                <a:gd name="connsiteY12" fmla="*/ 62915 h 180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28600" h="180975">
                  <a:moveTo>
                    <a:pt x="60013" y="177215"/>
                  </a:moveTo>
                  <a:cubicBezTo>
                    <a:pt x="52760" y="177229"/>
                    <a:pt x="46750" y="171595"/>
                    <a:pt x="46297" y="164356"/>
                  </a:cubicBezTo>
                  <a:cubicBezTo>
                    <a:pt x="43725" y="123399"/>
                    <a:pt x="34391" y="99205"/>
                    <a:pt x="10578" y="71964"/>
                  </a:cubicBezTo>
                  <a:cubicBezTo>
                    <a:pt x="6303" y="67147"/>
                    <a:pt x="5985" y="59995"/>
                    <a:pt x="9816" y="54819"/>
                  </a:cubicBezTo>
                  <a:cubicBezTo>
                    <a:pt x="49772" y="1933"/>
                    <a:pt x="125035" y="-8548"/>
                    <a:pt x="177921" y="31408"/>
                  </a:cubicBezTo>
                  <a:cubicBezTo>
                    <a:pt x="219073" y="62499"/>
                    <a:pt x="235758" y="116406"/>
                    <a:pt x="219366" y="165309"/>
                  </a:cubicBezTo>
                  <a:cubicBezTo>
                    <a:pt x="217591" y="170849"/>
                    <a:pt x="212513" y="174667"/>
                    <a:pt x="206698" y="174834"/>
                  </a:cubicBezTo>
                  <a:lnTo>
                    <a:pt x="59822" y="177501"/>
                  </a:lnTo>
                  <a:close/>
                  <a:moveTo>
                    <a:pt x="38677" y="62915"/>
                  </a:moveTo>
                  <a:cubicBezTo>
                    <a:pt x="58525" y="87691"/>
                    <a:pt x="70353" y="117926"/>
                    <a:pt x="72586" y="149592"/>
                  </a:cubicBezTo>
                  <a:lnTo>
                    <a:pt x="196411" y="147306"/>
                  </a:lnTo>
                  <a:cubicBezTo>
                    <a:pt x="208077" y="97523"/>
                    <a:pt x="177177" y="47708"/>
                    <a:pt x="127394" y="36041"/>
                  </a:cubicBezTo>
                  <a:cubicBezTo>
                    <a:pt x="95143" y="28484"/>
                    <a:pt x="61313" y="38732"/>
                    <a:pt x="38677" y="6291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36340B3A-FC65-01C9-FF60-E5C6BAC4EB0C}"/>
                </a:ext>
              </a:extLst>
            </p:cNvPr>
            <p:cNvSpPr/>
            <p:nvPr/>
          </p:nvSpPr>
          <p:spPr>
            <a:xfrm>
              <a:off x="6519291" y="2891219"/>
              <a:ext cx="152400" cy="152400"/>
            </a:xfrm>
            <a:custGeom>
              <a:avLst/>
              <a:gdLst>
                <a:gd name="connsiteX0" fmla="*/ 79820 w 152400"/>
                <a:gd name="connsiteY0" fmla="*/ 152495 h 152400"/>
                <a:gd name="connsiteX1" fmla="*/ 7144 w 152400"/>
                <a:gd name="connsiteY1" fmla="*/ 79819 h 152400"/>
                <a:gd name="connsiteX2" fmla="*/ 79820 w 152400"/>
                <a:gd name="connsiteY2" fmla="*/ 7144 h 152400"/>
                <a:gd name="connsiteX3" fmla="*/ 152495 w 152400"/>
                <a:gd name="connsiteY3" fmla="*/ 79819 h 152400"/>
                <a:gd name="connsiteX4" fmla="*/ 79819 w 152400"/>
                <a:gd name="connsiteY4" fmla="*/ 152495 h 152400"/>
                <a:gd name="connsiteX5" fmla="*/ 79820 w 152400"/>
                <a:gd name="connsiteY5" fmla="*/ 34576 h 152400"/>
                <a:gd name="connsiteX6" fmla="*/ 34576 w 152400"/>
                <a:gd name="connsiteY6" fmla="*/ 79819 h 152400"/>
                <a:gd name="connsiteX7" fmla="*/ 79820 w 152400"/>
                <a:gd name="connsiteY7" fmla="*/ 125063 h 152400"/>
                <a:gd name="connsiteX8" fmla="*/ 125063 w 152400"/>
                <a:gd name="connsiteY8" fmla="*/ 79819 h 152400"/>
                <a:gd name="connsiteX9" fmla="*/ 79820 w 152400"/>
                <a:gd name="connsiteY9" fmla="*/ 34576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2400" h="152400">
                  <a:moveTo>
                    <a:pt x="79820" y="152495"/>
                  </a:moveTo>
                  <a:cubicBezTo>
                    <a:pt x="39682" y="152495"/>
                    <a:pt x="7144" y="119957"/>
                    <a:pt x="7144" y="79819"/>
                  </a:cubicBezTo>
                  <a:cubicBezTo>
                    <a:pt x="7144" y="39682"/>
                    <a:pt x="39682" y="7144"/>
                    <a:pt x="79820" y="7144"/>
                  </a:cubicBezTo>
                  <a:cubicBezTo>
                    <a:pt x="119957" y="7144"/>
                    <a:pt x="152495" y="39682"/>
                    <a:pt x="152495" y="79819"/>
                  </a:cubicBezTo>
                  <a:cubicBezTo>
                    <a:pt x="152443" y="119935"/>
                    <a:pt x="119935" y="152443"/>
                    <a:pt x="79819" y="152495"/>
                  </a:cubicBezTo>
                  <a:close/>
                  <a:moveTo>
                    <a:pt x="79820" y="34576"/>
                  </a:moveTo>
                  <a:cubicBezTo>
                    <a:pt x="54832" y="34576"/>
                    <a:pt x="34576" y="54832"/>
                    <a:pt x="34576" y="79819"/>
                  </a:cubicBezTo>
                  <a:cubicBezTo>
                    <a:pt x="34576" y="104807"/>
                    <a:pt x="54832" y="125063"/>
                    <a:pt x="79820" y="125063"/>
                  </a:cubicBezTo>
                  <a:cubicBezTo>
                    <a:pt x="104807" y="125063"/>
                    <a:pt x="125063" y="104807"/>
                    <a:pt x="125063" y="79819"/>
                  </a:cubicBezTo>
                  <a:cubicBezTo>
                    <a:pt x="125063" y="54832"/>
                    <a:pt x="104807" y="34576"/>
                    <a:pt x="79820" y="3457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8E6791DE-3CD9-DE15-5F57-19AACD6F749D}"/>
                </a:ext>
              </a:extLst>
            </p:cNvPr>
            <p:cNvSpPr/>
            <p:nvPr/>
          </p:nvSpPr>
          <p:spPr>
            <a:xfrm>
              <a:off x="6472650" y="3060999"/>
              <a:ext cx="228600" cy="180975"/>
            </a:xfrm>
            <a:custGeom>
              <a:avLst/>
              <a:gdLst>
                <a:gd name="connsiteX0" fmla="*/ 172943 w 228600"/>
                <a:gd name="connsiteY0" fmla="*/ 177501 h 180975"/>
                <a:gd name="connsiteX1" fmla="*/ 172943 w 228600"/>
                <a:gd name="connsiteY1" fmla="*/ 177501 h 180975"/>
                <a:gd name="connsiteX2" fmla="*/ 26067 w 228600"/>
                <a:gd name="connsiteY2" fmla="*/ 174834 h 180975"/>
                <a:gd name="connsiteX3" fmla="*/ 13399 w 228600"/>
                <a:gd name="connsiteY3" fmla="*/ 165309 h 180975"/>
                <a:gd name="connsiteX4" fmla="*/ 89048 w 228600"/>
                <a:gd name="connsiteY4" fmla="*/ 13374 h 180975"/>
                <a:gd name="connsiteX5" fmla="*/ 222949 w 228600"/>
                <a:gd name="connsiteY5" fmla="*/ 54819 h 180975"/>
                <a:gd name="connsiteX6" fmla="*/ 222282 w 228600"/>
                <a:gd name="connsiteY6" fmla="*/ 71869 h 180975"/>
                <a:gd name="connsiteX7" fmla="*/ 186468 w 228600"/>
                <a:gd name="connsiteY7" fmla="*/ 164452 h 180975"/>
                <a:gd name="connsiteX8" fmla="*/ 172943 w 228600"/>
                <a:gd name="connsiteY8" fmla="*/ 177501 h 180975"/>
                <a:gd name="connsiteX9" fmla="*/ 36354 w 228600"/>
                <a:gd name="connsiteY9" fmla="*/ 147593 h 180975"/>
                <a:gd name="connsiteX10" fmla="*/ 160179 w 228600"/>
                <a:gd name="connsiteY10" fmla="*/ 149879 h 180975"/>
                <a:gd name="connsiteX11" fmla="*/ 194279 w 228600"/>
                <a:gd name="connsiteY11" fmla="*/ 63201 h 180975"/>
                <a:gd name="connsiteX12" fmla="*/ 63437 w 228600"/>
                <a:gd name="connsiteY12" fmla="*/ 58347 h 180975"/>
                <a:gd name="connsiteX13" fmla="*/ 36354 w 228600"/>
                <a:gd name="connsiteY13" fmla="*/ 147593 h 180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8600" h="180975">
                  <a:moveTo>
                    <a:pt x="172943" y="177501"/>
                  </a:moveTo>
                  <a:lnTo>
                    <a:pt x="172943" y="177501"/>
                  </a:lnTo>
                  <a:lnTo>
                    <a:pt x="26067" y="174834"/>
                  </a:lnTo>
                  <a:cubicBezTo>
                    <a:pt x="20252" y="174667"/>
                    <a:pt x="15174" y="170850"/>
                    <a:pt x="13399" y="165309"/>
                  </a:cubicBezTo>
                  <a:cubicBezTo>
                    <a:pt x="-7667" y="102464"/>
                    <a:pt x="26202" y="34440"/>
                    <a:pt x="89048" y="13374"/>
                  </a:cubicBezTo>
                  <a:cubicBezTo>
                    <a:pt x="137951" y="-3018"/>
                    <a:pt x="191858" y="13668"/>
                    <a:pt x="222949" y="54819"/>
                  </a:cubicBezTo>
                  <a:cubicBezTo>
                    <a:pt x="226755" y="59955"/>
                    <a:pt x="226478" y="67046"/>
                    <a:pt x="222282" y="71869"/>
                  </a:cubicBezTo>
                  <a:cubicBezTo>
                    <a:pt x="198565" y="99111"/>
                    <a:pt x="189231" y="123304"/>
                    <a:pt x="186468" y="164452"/>
                  </a:cubicBezTo>
                  <a:cubicBezTo>
                    <a:pt x="186116" y="171693"/>
                    <a:pt x="180191" y="177409"/>
                    <a:pt x="172943" y="177501"/>
                  </a:cubicBezTo>
                  <a:close/>
                  <a:moveTo>
                    <a:pt x="36354" y="147593"/>
                  </a:moveTo>
                  <a:lnTo>
                    <a:pt x="160179" y="149879"/>
                  </a:lnTo>
                  <a:cubicBezTo>
                    <a:pt x="162561" y="118213"/>
                    <a:pt x="174446" y="88003"/>
                    <a:pt x="194279" y="63201"/>
                  </a:cubicBezTo>
                  <a:cubicBezTo>
                    <a:pt x="159488" y="25730"/>
                    <a:pt x="100908" y="23557"/>
                    <a:pt x="63437" y="58347"/>
                  </a:cubicBezTo>
                  <a:cubicBezTo>
                    <a:pt x="38991" y="81045"/>
                    <a:pt x="28645" y="115138"/>
                    <a:pt x="36354" y="14759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810AC74A-00F3-AA79-DF10-239AB19A3870}"/>
                </a:ext>
              </a:extLst>
            </p:cNvPr>
            <p:cNvSpPr/>
            <p:nvPr/>
          </p:nvSpPr>
          <p:spPr>
            <a:xfrm>
              <a:off x="7222041" y="3008345"/>
              <a:ext cx="85725" cy="85725"/>
            </a:xfrm>
            <a:custGeom>
              <a:avLst/>
              <a:gdLst>
                <a:gd name="connsiteX0" fmla="*/ 30770 w 85725"/>
                <a:gd name="connsiteY0" fmla="*/ 82232 h 85725"/>
                <a:gd name="connsiteX1" fmla="*/ 16959 w 85725"/>
                <a:gd name="connsiteY1" fmla="*/ 71278 h 85725"/>
                <a:gd name="connsiteX2" fmla="*/ 7434 w 85725"/>
                <a:gd name="connsiteY2" fmla="*/ 23653 h 85725"/>
                <a:gd name="connsiteX3" fmla="*/ 18070 w 85725"/>
                <a:gd name="connsiteY3" fmla="*/ 7431 h 85725"/>
                <a:gd name="connsiteX4" fmla="*/ 24198 w 85725"/>
                <a:gd name="connsiteY4" fmla="*/ 7555 h 85725"/>
                <a:gd name="connsiteX5" fmla="*/ 71823 w 85725"/>
                <a:gd name="connsiteY5" fmla="*/ 19557 h 85725"/>
                <a:gd name="connsiteX6" fmla="*/ 81824 w 85725"/>
                <a:gd name="connsiteY6" fmla="*/ 36226 h 85725"/>
                <a:gd name="connsiteX7" fmla="*/ 65155 w 85725"/>
                <a:gd name="connsiteY7" fmla="*/ 46227 h 85725"/>
                <a:gd name="connsiteX8" fmla="*/ 38771 w 85725"/>
                <a:gd name="connsiteY8" fmla="*/ 39655 h 85725"/>
                <a:gd name="connsiteX9" fmla="*/ 44200 w 85725"/>
                <a:gd name="connsiteY9" fmla="*/ 66039 h 85725"/>
                <a:gd name="connsiteX10" fmla="*/ 33532 w 85725"/>
                <a:gd name="connsiteY10" fmla="*/ 82231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5725" h="85725">
                  <a:moveTo>
                    <a:pt x="30770" y="82232"/>
                  </a:moveTo>
                  <a:cubicBezTo>
                    <a:pt x="24119" y="82414"/>
                    <a:pt x="18296" y="77796"/>
                    <a:pt x="16959" y="71278"/>
                  </a:cubicBezTo>
                  <a:lnTo>
                    <a:pt x="7434" y="23653"/>
                  </a:lnTo>
                  <a:cubicBezTo>
                    <a:pt x="5891" y="16236"/>
                    <a:pt x="10653" y="8974"/>
                    <a:pt x="18070" y="7431"/>
                  </a:cubicBezTo>
                  <a:cubicBezTo>
                    <a:pt x="20096" y="7010"/>
                    <a:pt x="22191" y="7052"/>
                    <a:pt x="24198" y="7555"/>
                  </a:cubicBezTo>
                  <a:lnTo>
                    <a:pt x="71823" y="19557"/>
                  </a:lnTo>
                  <a:cubicBezTo>
                    <a:pt x="79187" y="21398"/>
                    <a:pt x="83665" y="28861"/>
                    <a:pt x="81824" y="36226"/>
                  </a:cubicBezTo>
                  <a:cubicBezTo>
                    <a:pt x="79983" y="43590"/>
                    <a:pt x="72520" y="48068"/>
                    <a:pt x="65155" y="46227"/>
                  </a:cubicBezTo>
                  <a:lnTo>
                    <a:pt x="38771" y="39655"/>
                  </a:lnTo>
                  <a:lnTo>
                    <a:pt x="44200" y="66039"/>
                  </a:lnTo>
                  <a:cubicBezTo>
                    <a:pt x="45723" y="73456"/>
                    <a:pt x="40948" y="80704"/>
                    <a:pt x="33532" y="8223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99BE45C8-8671-9E67-68CA-571FD90AE624}"/>
                </a:ext>
              </a:extLst>
            </p:cNvPr>
            <p:cNvSpPr/>
            <p:nvPr/>
          </p:nvSpPr>
          <p:spPr>
            <a:xfrm>
              <a:off x="6371240" y="3008533"/>
              <a:ext cx="85725" cy="85725"/>
            </a:xfrm>
            <a:custGeom>
              <a:avLst/>
              <a:gdLst>
                <a:gd name="connsiteX0" fmla="*/ 59088 w 85725"/>
                <a:gd name="connsiteY0" fmla="*/ 82044 h 85725"/>
                <a:gd name="connsiteX1" fmla="*/ 56325 w 85725"/>
                <a:gd name="connsiteY1" fmla="*/ 82044 h 85725"/>
                <a:gd name="connsiteX2" fmla="*/ 45657 w 85725"/>
                <a:gd name="connsiteY2" fmla="*/ 65852 h 85725"/>
                <a:gd name="connsiteX3" fmla="*/ 50991 w 85725"/>
                <a:gd name="connsiteY3" fmla="*/ 39467 h 85725"/>
                <a:gd name="connsiteX4" fmla="*/ 24226 w 85725"/>
                <a:gd name="connsiteY4" fmla="*/ 46230 h 85725"/>
                <a:gd name="connsiteX5" fmla="*/ 7557 w 85725"/>
                <a:gd name="connsiteY5" fmla="*/ 36229 h 85725"/>
                <a:gd name="connsiteX6" fmla="*/ 17559 w 85725"/>
                <a:gd name="connsiteY6" fmla="*/ 19560 h 85725"/>
                <a:gd name="connsiteX7" fmla="*/ 65184 w 85725"/>
                <a:gd name="connsiteY7" fmla="*/ 7559 h 85725"/>
                <a:gd name="connsiteX8" fmla="*/ 81823 w 85725"/>
                <a:gd name="connsiteY8" fmla="*/ 17528 h 85725"/>
                <a:gd name="connsiteX9" fmla="*/ 81948 w 85725"/>
                <a:gd name="connsiteY9" fmla="*/ 23656 h 85725"/>
                <a:gd name="connsiteX10" fmla="*/ 72423 w 85725"/>
                <a:gd name="connsiteY10" fmla="*/ 71281 h 85725"/>
                <a:gd name="connsiteX11" fmla="*/ 59088 w 85725"/>
                <a:gd name="connsiteY11" fmla="*/ 82044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5725" h="85725">
                  <a:moveTo>
                    <a:pt x="59088" y="82044"/>
                  </a:moveTo>
                  <a:lnTo>
                    <a:pt x="56325" y="82044"/>
                  </a:lnTo>
                  <a:cubicBezTo>
                    <a:pt x="48910" y="80516"/>
                    <a:pt x="44135" y="73269"/>
                    <a:pt x="45657" y="65852"/>
                  </a:cubicBezTo>
                  <a:lnTo>
                    <a:pt x="50991" y="39467"/>
                  </a:lnTo>
                  <a:lnTo>
                    <a:pt x="24226" y="46230"/>
                  </a:lnTo>
                  <a:cubicBezTo>
                    <a:pt x="16861" y="48071"/>
                    <a:pt x="9399" y="43594"/>
                    <a:pt x="7557" y="36229"/>
                  </a:cubicBezTo>
                  <a:cubicBezTo>
                    <a:pt x="5716" y="28864"/>
                    <a:pt x="10194" y="21401"/>
                    <a:pt x="17559" y="19560"/>
                  </a:cubicBezTo>
                  <a:lnTo>
                    <a:pt x="65184" y="7559"/>
                  </a:lnTo>
                  <a:cubicBezTo>
                    <a:pt x="72531" y="5717"/>
                    <a:pt x="79981" y="10180"/>
                    <a:pt x="81823" y="17528"/>
                  </a:cubicBezTo>
                  <a:cubicBezTo>
                    <a:pt x="82327" y="19535"/>
                    <a:pt x="82369" y="21630"/>
                    <a:pt x="81948" y="23656"/>
                  </a:cubicBezTo>
                  <a:lnTo>
                    <a:pt x="72423" y="71281"/>
                  </a:lnTo>
                  <a:cubicBezTo>
                    <a:pt x="71042" y="77546"/>
                    <a:pt x="65503" y="82016"/>
                    <a:pt x="59088" y="8204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8F113628-2927-39CC-5EC6-3DDAC1AF564C}"/>
                </a:ext>
              </a:extLst>
            </p:cNvPr>
            <p:cNvSpPr/>
            <p:nvPr/>
          </p:nvSpPr>
          <p:spPr>
            <a:xfrm>
              <a:off x="6357366" y="3015724"/>
              <a:ext cx="962025" cy="400050"/>
            </a:xfrm>
            <a:custGeom>
              <a:avLst/>
              <a:gdLst>
                <a:gd name="connsiteX0" fmla="*/ 485013 w 962025"/>
                <a:gd name="connsiteY0" fmla="*/ 394226 h 400050"/>
                <a:gd name="connsiteX1" fmla="*/ 7144 w 962025"/>
                <a:gd name="connsiteY1" fmla="*/ 137051 h 400050"/>
                <a:gd name="connsiteX2" fmla="*/ 66866 w 962025"/>
                <a:gd name="connsiteY2" fmla="*/ 11797 h 400050"/>
                <a:gd name="connsiteX3" fmla="*/ 86224 w 962025"/>
                <a:gd name="connsiteY3" fmla="*/ 10565 h 400050"/>
                <a:gd name="connsiteX4" fmla="*/ 87456 w 962025"/>
                <a:gd name="connsiteY4" fmla="*/ 29923 h 400050"/>
                <a:gd name="connsiteX5" fmla="*/ 85916 w 962025"/>
                <a:gd name="connsiteY5" fmla="*/ 31418 h 400050"/>
                <a:gd name="connsiteX6" fmla="*/ 34576 w 962025"/>
                <a:gd name="connsiteY6" fmla="*/ 137051 h 400050"/>
                <a:gd name="connsiteX7" fmla="*/ 485013 w 962025"/>
                <a:gd name="connsiteY7" fmla="*/ 366794 h 400050"/>
                <a:gd name="connsiteX8" fmla="*/ 935450 w 962025"/>
                <a:gd name="connsiteY8" fmla="*/ 137051 h 400050"/>
                <a:gd name="connsiteX9" fmla="*/ 889635 w 962025"/>
                <a:gd name="connsiteY9" fmla="*/ 36943 h 400050"/>
                <a:gd name="connsiteX10" fmla="*/ 890016 w 962025"/>
                <a:gd name="connsiteY10" fmla="*/ 17512 h 400050"/>
                <a:gd name="connsiteX11" fmla="*/ 909447 w 962025"/>
                <a:gd name="connsiteY11" fmla="*/ 17893 h 400050"/>
                <a:gd name="connsiteX12" fmla="*/ 962882 w 962025"/>
                <a:gd name="connsiteY12" fmla="*/ 137051 h 400050"/>
                <a:gd name="connsiteX13" fmla="*/ 485013 w 962025"/>
                <a:gd name="connsiteY13" fmla="*/ 394226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62025" h="400050">
                  <a:moveTo>
                    <a:pt x="485013" y="394226"/>
                  </a:moveTo>
                  <a:cubicBezTo>
                    <a:pt x="221552" y="394226"/>
                    <a:pt x="7144" y="278878"/>
                    <a:pt x="7144" y="137051"/>
                  </a:cubicBezTo>
                  <a:cubicBezTo>
                    <a:pt x="7144" y="92855"/>
                    <a:pt x="27813" y="49516"/>
                    <a:pt x="66866" y="11797"/>
                  </a:cubicBezTo>
                  <a:cubicBezTo>
                    <a:pt x="71871" y="6111"/>
                    <a:pt x="80538" y="5559"/>
                    <a:pt x="86224" y="10565"/>
                  </a:cubicBezTo>
                  <a:cubicBezTo>
                    <a:pt x="91910" y="15570"/>
                    <a:pt x="92461" y="24237"/>
                    <a:pt x="87456" y="29923"/>
                  </a:cubicBezTo>
                  <a:cubicBezTo>
                    <a:pt x="86982" y="30461"/>
                    <a:pt x="86467" y="30961"/>
                    <a:pt x="85916" y="31418"/>
                  </a:cubicBezTo>
                  <a:cubicBezTo>
                    <a:pt x="52292" y="63708"/>
                    <a:pt x="34576" y="100189"/>
                    <a:pt x="34576" y="137051"/>
                  </a:cubicBezTo>
                  <a:cubicBezTo>
                    <a:pt x="34576" y="263733"/>
                    <a:pt x="236601" y="366794"/>
                    <a:pt x="485013" y="366794"/>
                  </a:cubicBezTo>
                  <a:cubicBezTo>
                    <a:pt x="733425" y="366794"/>
                    <a:pt x="935450" y="263447"/>
                    <a:pt x="935450" y="137051"/>
                  </a:cubicBezTo>
                  <a:cubicBezTo>
                    <a:pt x="935450" y="102189"/>
                    <a:pt x="920020" y="68471"/>
                    <a:pt x="889635" y="36943"/>
                  </a:cubicBezTo>
                  <a:cubicBezTo>
                    <a:pt x="884374" y="31472"/>
                    <a:pt x="884545" y="22772"/>
                    <a:pt x="890016" y="17512"/>
                  </a:cubicBezTo>
                  <a:cubicBezTo>
                    <a:pt x="895487" y="12251"/>
                    <a:pt x="904186" y="12422"/>
                    <a:pt x="909447" y="17893"/>
                  </a:cubicBezTo>
                  <a:cubicBezTo>
                    <a:pt x="944404" y="54278"/>
                    <a:pt x="962882" y="95426"/>
                    <a:pt x="962882" y="137051"/>
                  </a:cubicBezTo>
                  <a:cubicBezTo>
                    <a:pt x="962882" y="278592"/>
                    <a:pt x="748284" y="394226"/>
                    <a:pt x="485013" y="39422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813702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30AD21-1369-004A-8D43-1187F8051E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548640"/>
            <a:ext cx="10515600" cy="369332"/>
          </a:xfrm>
        </p:spPr>
        <p:txBody>
          <a:bodyPr/>
          <a:lstStyle/>
          <a:p>
            <a:r>
              <a:rPr lang="en-US"/>
              <a:t>A Brief History of Keysight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50AD24B2-9377-C444-8FD8-E07F37C4565B}"/>
              </a:ext>
            </a:extLst>
          </p:cNvPr>
          <p:cNvGrpSpPr/>
          <p:nvPr/>
        </p:nvGrpSpPr>
        <p:grpSpPr>
          <a:xfrm>
            <a:off x="171135" y="4319321"/>
            <a:ext cx="3363672" cy="1192246"/>
            <a:chOff x="137730" y="3710518"/>
            <a:chExt cx="3363672" cy="1192246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1C2DAF50-ABB8-AC4A-A19E-497D3143D008}"/>
                </a:ext>
              </a:extLst>
            </p:cNvPr>
            <p:cNvSpPr txBox="1"/>
            <p:nvPr/>
          </p:nvSpPr>
          <p:spPr>
            <a:xfrm>
              <a:off x="137730" y="3710518"/>
              <a:ext cx="2478156" cy="646331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939–1998: </a:t>
              </a:r>
              <a:b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Hewlett-Packard years 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EF00BF64-8C46-9441-83B6-C2886E69B313}"/>
                </a:ext>
              </a:extLst>
            </p:cNvPr>
            <p:cNvSpPr txBox="1"/>
            <p:nvPr/>
          </p:nvSpPr>
          <p:spPr>
            <a:xfrm>
              <a:off x="657145" y="4564210"/>
              <a:ext cx="2844257" cy="338554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E90029">
                    <a:lumMod val="100000"/>
                  </a:srgbClr>
                </a:buClr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524F5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8630585-8986-5846-8E33-42D435F9BEB9}"/>
              </a:ext>
            </a:extLst>
          </p:cNvPr>
          <p:cNvGrpSpPr/>
          <p:nvPr/>
        </p:nvGrpSpPr>
        <p:grpSpPr>
          <a:xfrm>
            <a:off x="3184773" y="4319321"/>
            <a:ext cx="4425617" cy="1192246"/>
            <a:chOff x="3105881" y="3710518"/>
            <a:chExt cx="4713869" cy="1192246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3E558A43-7257-7749-9AB0-8FA3A8BB60A7}"/>
                </a:ext>
              </a:extLst>
            </p:cNvPr>
            <p:cNvSpPr txBox="1"/>
            <p:nvPr/>
          </p:nvSpPr>
          <p:spPr>
            <a:xfrm>
              <a:off x="3105881" y="3710518"/>
              <a:ext cx="3299910" cy="646331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999–2013: </a:t>
              </a:r>
              <a:b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gilent Technologies years 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A4645B95-0F0A-5041-9887-B30F0414990D}"/>
                </a:ext>
              </a:extLst>
            </p:cNvPr>
            <p:cNvSpPr txBox="1"/>
            <p:nvPr/>
          </p:nvSpPr>
          <p:spPr>
            <a:xfrm>
              <a:off x="4280604" y="4564210"/>
              <a:ext cx="3539146" cy="338554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90029"/>
                </a:buClr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524F5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7016606-AB24-BF40-BD2B-2EED7F149E40}"/>
              </a:ext>
            </a:extLst>
          </p:cNvPr>
          <p:cNvGrpSpPr/>
          <p:nvPr/>
        </p:nvGrpSpPr>
        <p:grpSpPr>
          <a:xfrm>
            <a:off x="6650182" y="4319321"/>
            <a:ext cx="5111424" cy="1192246"/>
            <a:chOff x="7560311" y="3710518"/>
            <a:chExt cx="3993416" cy="1192246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CB4FAE8E-B8A8-D84D-A30B-BBB60215EDD9}"/>
                </a:ext>
              </a:extLst>
            </p:cNvPr>
            <p:cNvSpPr txBox="1"/>
            <p:nvPr/>
          </p:nvSpPr>
          <p:spPr>
            <a:xfrm>
              <a:off x="7560311" y="3710518"/>
              <a:ext cx="1428098" cy="646331"/>
            </a:xfrm>
            <a:prstGeom prst="rect">
              <a:avLst/>
            </a:prstGeom>
            <a:noFill/>
          </p:spPr>
          <p:txBody>
            <a:bodyPr wrap="none" lIns="0" rIns="0" rtlCol="0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014+: </a:t>
              </a:r>
              <a:b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Keysight years 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008F04E4-EA76-D643-93A1-14AC98118D8A}"/>
                </a:ext>
              </a:extLst>
            </p:cNvPr>
            <p:cNvSpPr txBox="1"/>
            <p:nvPr/>
          </p:nvSpPr>
          <p:spPr>
            <a:xfrm>
              <a:off x="8722396" y="4564210"/>
              <a:ext cx="2831331" cy="338554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524F5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7DCD53DC-7744-A540-978E-160CF6F7D274}"/>
              </a:ext>
            </a:extLst>
          </p:cNvPr>
          <p:cNvCxnSpPr>
            <a:cxnSpLocks/>
          </p:cNvCxnSpPr>
          <p:nvPr/>
        </p:nvCxnSpPr>
        <p:spPr>
          <a:xfrm flipH="1">
            <a:off x="270541" y="4286916"/>
            <a:ext cx="11526199" cy="0"/>
          </a:xfrm>
          <a:prstGeom prst="straightConnector1">
            <a:avLst/>
          </a:prstGeom>
          <a:ln w="19050">
            <a:solidFill>
              <a:schemeClr val="accent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>
            <a:extLst>
              <a:ext uri="{FF2B5EF4-FFF2-40B4-BE49-F238E27FC236}">
                <a16:creationId xmlns:a16="http://schemas.microsoft.com/office/drawing/2014/main" id="{ED6F4F65-A9A6-EC49-9163-F0B724E73754}"/>
              </a:ext>
            </a:extLst>
          </p:cNvPr>
          <p:cNvGrpSpPr/>
          <p:nvPr/>
        </p:nvGrpSpPr>
        <p:grpSpPr>
          <a:xfrm>
            <a:off x="422050" y="1870808"/>
            <a:ext cx="8111167" cy="2068149"/>
            <a:chOff x="396144" y="1471419"/>
            <a:chExt cx="8111167" cy="2068149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EA1AF52C-13DC-5641-98FA-E8C7418BA735}"/>
                </a:ext>
              </a:extLst>
            </p:cNvPr>
            <p:cNvSpPr/>
            <p:nvPr/>
          </p:nvSpPr>
          <p:spPr>
            <a:xfrm>
              <a:off x="6506269" y="1471419"/>
              <a:ext cx="2001042" cy="2001042"/>
            </a:xfrm>
            <a:prstGeom prst="ellipse">
              <a:avLst/>
            </a:prstGeom>
            <a:solidFill>
              <a:schemeClr val="bg1"/>
            </a:solidFill>
            <a:ln w="38100" cmpd="sng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863CDAF9-7397-A048-81FA-0F1DE98CE571}"/>
                </a:ext>
              </a:extLst>
            </p:cNvPr>
            <p:cNvSpPr/>
            <p:nvPr/>
          </p:nvSpPr>
          <p:spPr>
            <a:xfrm>
              <a:off x="547354" y="1538526"/>
              <a:ext cx="2001042" cy="2001042"/>
            </a:xfrm>
            <a:prstGeom prst="ellipse">
              <a:avLst/>
            </a:prstGeom>
            <a:solidFill>
              <a:schemeClr val="bg1"/>
            </a:solidFill>
            <a:ln w="38100" cmpd="sng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189FDF55-F4F4-6E46-84C4-247450F57C7C}"/>
                </a:ext>
              </a:extLst>
            </p:cNvPr>
            <p:cNvSpPr/>
            <p:nvPr/>
          </p:nvSpPr>
          <p:spPr>
            <a:xfrm>
              <a:off x="3508901" y="1537715"/>
              <a:ext cx="2001042" cy="2001042"/>
            </a:xfrm>
            <a:prstGeom prst="ellipse">
              <a:avLst/>
            </a:prstGeom>
            <a:noFill/>
            <a:ln w="38100" cmpd="sng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21" name="Picture 20" descr="hp men.png">
              <a:extLst>
                <a:ext uri="{FF2B5EF4-FFF2-40B4-BE49-F238E27FC236}">
                  <a16:creationId xmlns:a16="http://schemas.microsoft.com/office/drawing/2014/main" id="{A6E733E0-AF80-0C46-BA8F-C4579FB336B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6144" y="1622942"/>
              <a:ext cx="2128697" cy="1806435"/>
            </a:xfrm>
            <a:prstGeom prst="rect">
              <a:avLst/>
            </a:prstGeom>
          </p:spPr>
        </p:pic>
        <p:pic>
          <p:nvPicPr>
            <p:cNvPr id="23" name="Picture 22" descr="ag3.png">
              <a:extLst>
                <a:ext uri="{FF2B5EF4-FFF2-40B4-BE49-F238E27FC236}">
                  <a16:creationId xmlns:a16="http://schemas.microsoft.com/office/drawing/2014/main" id="{6454FB69-6FDE-6147-8A1B-8F012870A55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594961" y="1612249"/>
              <a:ext cx="1840162" cy="1840162"/>
            </a:xfrm>
            <a:prstGeom prst="rect">
              <a:avLst/>
            </a:prstGeom>
          </p:spPr>
        </p:pic>
        <p:pic>
          <p:nvPicPr>
            <p:cNvPr id="24" name="Picture 23" descr="ks3.png">
              <a:extLst>
                <a:ext uri="{FF2B5EF4-FFF2-40B4-BE49-F238E27FC236}">
                  <a16:creationId xmlns:a16="http://schemas.microsoft.com/office/drawing/2014/main" id="{F958D340-530C-A944-8CA3-996817E7F78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490292" y="1555098"/>
              <a:ext cx="1950521" cy="1844843"/>
            </a:xfrm>
            <a:prstGeom prst="rect">
              <a:avLst/>
            </a:prstGeom>
          </p:spPr>
        </p:pic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EF0F908F-4F69-F633-6E80-86A26A871F10}"/>
              </a:ext>
            </a:extLst>
          </p:cNvPr>
          <p:cNvGrpSpPr>
            <a:grpSpLocks noChangeAspect="1"/>
          </p:cNvGrpSpPr>
          <p:nvPr/>
        </p:nvGrpSpPr>
        <p:grpSpPr>
          <a:xfrm>
            <a:off x="9529543" y="1942890"/>
            <a:ext cx="1941011" cy="1941011"/>
            <a:chOff x="9527847" y="1330715"/>
            <a:chExt cx="2001042" cy="2001042"/>
          </a:xfrm>
        </p:grpSpPr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8EFD4139-A75A-2A55-2B56-D6633AA7F525}"/>
                </a:ext>
              </a:extLst>
            </p:cNvPr>
            <p:cNvSpPr/>
            <p:nvPr/>
          </p:nvSpPr>
          <p:spPr>
            <a:xfrm>
              <a:off x="9527847" y="1330715"/>
              <a:ext cx="2001042" cy="2001042"/>
            </a:xfrm>
            <a:prstGeom prst="ellipse">
              <a:avLst/>
            </a:prstGeom>
            <a:solidFill>
              <a:schemeClr val="bg1"/>
            </a:solidFill>
            <a:ln w="38100" cmpd="sng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83564E05-1237-37B6-0DEB-0C3F572D5C8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102943" y="2726728"/>
              <a:ext cx="850849" cy="392130"/>
            </a:xfrm>
            <a:prstGeom prst="rect">
              <a:avLst/>
            </a:prstGeom>
          </p:spPr>
        </p:pic>
        <p:pic>
          <p:nvPicPr>
            <p:cNvPr id="22" name="Picture 1" descr="/Users/franky/Documents/huge/Keysight/brandin/powerpoint/- Branding/Frame.svgFrame">
              <a:extLst>
                <a:ext uri="{FF2B5EF4-FFF2-40B4-BE49-F238E27FC236}">
                  <a16:creationId xmlns:a16="http://schemas.microsoft.com/office/drawing/2014/main" id="{E2650AFA-DA49-41EC-2A8B-F6BFAAF860E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>
              <a:fillRect/>
            </a:stretch>
          </p:blipFill>
          <p:spPr>
            <a:xfrm>
              <a:off x="9594316" y="1953195"/>
              <a:ext cx="1844040" cy="324803"/>
            </a:xfrm>
            <a:prstGeom prst="rect">
              <a:avLst/>
            </a:prstGeom>
          </p:spPr>
        </p:pic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848057EB-0B70-A425-4294-0CDA7FE93783}"/>
                </a:ext>
              </a:extLst>
            </p:cNvPr>
            <p:cNvSpPr txBox="1"/>
            <p:nvPr/>
          </p:nvSpPr>
          <p:spPr>
            <a:xfrm>
              <a:off x="10353968" y="2138357"/>
              <a:ext cx="348916" cy="511838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l"/>
              <a:r>
                <a:rPr lang="en-US" sz="400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+</a:t>
              </a:r>
            </a:p>
          </p:txBody>
        </p:sp>
      </p:grpSp>
      <p:sp>
        <p:nvSpPr>
          <p:cNvPr id="27" name="TextBox 26">
            <a:extLst>
              <a:ext uri="{FF2B5EF4-FFF2-40B4-BE49-F238E27FC236}">
                <a16:creationId xmlns:a16="http://schemas.microsoft.com/office/drawing/2014/main" id="{0D0A2F36-F278-3505-0EE0-881F07FBE043}"/>
              </a:ext>
            </a:extLst>
          </p:cNvPr>
          <p:cNvSpPr txBox="1"/>
          <p:nvPr/>
        </p:nvSpPr>
        <p:spPr>
          <a:xfrm>
            <a:off x="9107902" y="4339860"/>
            <a:ext cx="2832154" cy="64633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17: </a:t>
            </a:r>
            <a:b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eysight </a:t>
            </a:r>
            <a:r>
              <a:rPr lang="en-US" b="1">
                <a:solidFill>
                  <a:schemeClr val="accent1"/>
                </a:solidFill>
                <a:latin typeface="Arial"/>
              </a:rPr>
              <a:t>acquires Ixia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EB4E782-ACDD-A8BF-C51B-C2B35C4DC5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455664"/>
            <a:ext cx="4114800" cy="1554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/>
              <a:t>NAF AUTOCON2: WS:D1 Automated &amp; Scalable Network Testing with OTG</a:t>
            </a:r>
          </a:p>
          <a:p>
            <a:r>
              <a:rPr lang="en-US" sz="800"/>
              <a:t>
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5565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80BE6CB-A540-F76F-4A4E-14F668F0DC7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53980" y="3757247"/>
            <a:ext cx="1719946" cy="1632005"/>
          </a:xfrm>
        </p:spPr>
        <p:txBody>
          <a:bodyPr>
            <a:normAutofit/>
          </a:bodyPr>
          <a:lstStyle/>
          <a:p>
            <a:r>
              <a:rPr lang="en-US" dirty="0"/>
              <a:t>Quantifying </a:t>
            </a:r>
            <a:r>
              <a:rPr lang="en-US" b="1" dirty="0"/>
              <a:t>Network Latency </a:t>
            </a:r>
            <a:r>
              <a:rPr lang="en-US" dirty="0"/>
              <a:t>characteristics, choke points, user </a:t>
            </a:r>
            <a:r>
              <a:rPr lang="en-US" dirty="0" err="1"/>
              <a:t>QoE</a:t>
            </a:r>
            <a:endParaRPr lang="en-US" dirty="0"/>
          </a:p>
          <a:p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347432B7-0734-7EC0-6BE9-65447612C4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FF0000"/>
                </a:solidFill>
              </a:rPr>
              <a:t>Advantages of </a:t>
            </a:r>
            <a:r>
              <a:rPr lang="en-US" dirty="0" err="1">
                <a:solidFill>
                  <a:srgbClr val="FF0000"/>
                </a:solidFill>
              </a:rPr>
              <a:t>CyPerf’s</a:t>
            </a:r>
            <a:r>
              <a:rPr lang="en-US" dirty="0">
                <a:solidFill>
                  <a:srgbClr val="FF0000"/>
                </a:solidFill>
              </a:rPr>
              <a:t> Traffic  Emulation</a:t>
            </a:r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6C51AC29-E6DE-53DA-5A5F-49E70214881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r>
              <a:rPr lang="en-US" dirty="0">
                <a:solidFill>
                  <a:srgbClr val="FF0000"/>
                </a:solidFill>
              </a:rPr>
              <a:t>Network Operators use cases</a:t>
            </a:r>
            <a:endParaRPr lang="en-US" dirty="0"/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A425C891-D670-3A14-CD23-C25AFC63575E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r>
              <a:rPr lang="en-US" dirty="0"/>
              <a:t>Keysight </a:t>
            </a:r>
            <a:r>
              <a:rPr lang="en-US" dirty="0" err="1"/>
              <a:t>CyPerf</a:t>
            </a:r>
            <a:endParaRPr lang="en-US" dirty="0"/>
          </a:p>
        </p:txBody>
      </p:sp>
      <p:pic>
        <p:nvPicPr>
          <p:cNvPr id="17" name="Picture Placeholder 16" descr="Generated image">
            <a:extLst>
              <a:ext uri="{FF2B5EF4-FFF2-40B4-BE49-F238E27FC236}">
                <a16:creationId xmlns:a16="http://schemas.microsoft.com/office/drawing/2014/main" id="{BDBCB365-DD21-8125-1DF9-19C9BAF34A67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57" b="2557"/>
          <a:stretch>
            <a:fillRect/>
          </a:stretch>
        </p:blipFill>
        <p:spPr bwMode="auto">
          <a:xfrm>
            <a:off x="453980" y="1796995"/>
            <a:ext cx="1719946" cy="1632005"/>
          </a:xfrm>
          <a:prstGeom prst="rect">
            <a:avLst/>
          </a:prstGeom>
          <a:noFill/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8" name="Picture Placeholder 17" descr="A group of people using laptops&#10;&#10;AI-generated content may be incorrect.">
            <a:extLst>
              <a:ext uri="{FF2B5EF4-FFF2-40B4-BE49-F238E27FC236}">
                <a16:creationId xmlns:a16="http://schemas.microsoft.com/office/drawing/2014/main" id="{FBB2D75D-1738-6243-7F8E-97A66A794F5A}"/>
              </a:ext>
            </a:extLst>
          </p:cNvPr>
          <p:cNvPicPr>
            <a:picLocks noGrp="1" noChangeAspect="1"/>
          </p:cNvPicPr>
          <p:nvPr>
            <p:ph type="pic" sz="quarter" idx="20"/>
          </p:nvPr>
        </p:nvPicPr>
        <p:blipFill>
          <a:blip r:embed="rId3"/>
          <a:srcRect l="14905" r="14905"/>
          <a:stretch>
            <a:fillRect/>
          </a:stretch>
        </p:blipFill>
        <p:spPr>
          <a:xfrm>
            <a:off x="2387089" y="1819376"/>
            <a:ext cx="1718256" cy="1632005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9" name="Picture Placeholder 18">
            <a:extLst>
              <a:ext uri="{FF2B5EF4-FFF2-40B4-BE49-F238E27FC236}">
                <a16:creationId xmlns:a16="http://schemas.microsoft.com/office/drawing/2014/main" id="{9ED39896-D417-B777-9D02-421013D5FBFC}"/>
              </a:ext>
            </a:extLst>
          </p:cNvPr>
          <p:cNvPicPr>
            <a:picLocks noGrp="1" noChangeAspect="1"/>
          </p:cNvPicPr>
          <p:nvPr>
            <p:ph type="pic" sz="quarter" idx="21"/>
          </p:nvPr>
        </p:nvPicPr>
        <p:blipFill>
          <a:blip r:embed="rId4"/>
          <a:srcRect t="2510" b="2510"/>
          <a:stretch>
            <a:fillRect/>
          </a:stretch>
        </p:blipFill>
        <p:spPr>
          <a:xfrm>
            <a:off x="4244516" y="1819375"/>
            <a:ext cx="1718256" cy="1632005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0" name="Picture Placeholder 19" descr="Generated image">
            <a:extLst>
              <a:ext uri="{FF2B5EF4-FFF2-40B4-BE49-F238E27FC236}">
                <a16:creationId xmlns:a16="http://schemas.microsoft.com/office/drawing/2014/main" id="{CC04441F-17A1-BBFF-7514-F2FEA03C7A2C}"/>
              </a:ext>
            </a:extLst>
          </p:cNvPr>
          <p:cNvPicPr>
            <a:picLocks noGrp="1" noChangeAspect="1"/>
          </p:cNvPicPr>
          <p:nvPr>
            <p:ph type="pic" sz="quarter" idx="22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57" b="2557"/>
          <a:stretch>
            <a:fillRect/>
          </a:stretch>
        </p:blipFill>
        <p:spPr bwMode="auto">
          <a:xfrm>
            <a:off x="6124154" y="1849900"/>
            <a:ext cx="1719947" cy="1632005"/>
          </a:xfrm>
          <a:prstGeom prst="rect">
            <a:avLst/>
          </a:prstGeom>
          <a:noFill/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1" name="Picture Placeholder 19">
            <a:extLst>
              <a:ext uri="{FF2B5EF4-FFF2-40B4-BE49-F238E27FC236}">
                <a16:creationId xmlns:a16="http://schemas.microsoft.com/office/drawing/2014/main" id="{7F4F9F10-BD0C-5901-37AC-08F12C6D60F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45" r="4445"/>
          <a:stretch/>
        </p:blipFill>
        <p:spPr bwMode="auto">
          <a:xfrm>
            <a:off x="8033362" y="1849899"/>
            <a:ext cx="1719947" cy="1632005"/>
          </a:xfrm>
          <a:prstGeom prst="rect">
            <a:avLst/>
          </a:prstGeom>
          <a:noFill/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2" name="Picture Placeholder 19">
            <a:extLst>
              <a:ext uri="{FF2B5EF4-FFF2-40B4-BE49-F238E27FC236}">
                <a16:creationId xmlns:a16="http://schemas.microsoft.com/office/drawing/2014/main" id="{33B290B0-4EFB-C38E-65B9-FA61EF1D02A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782" r="14782"/>
          <a:stretch/>
        </p:blipFill>
        <p:spPr bwMode="auto">
          <a:xfrm>
            <a:off x="9942570" y="1849898"/>
            <a:ext cx="1719947" cy="1632005"/>
          </a:xfrm>
          <a:prstGeom prst="rect">
            <a:avLst/>
          </a:prstGeom>
          <a:noFill/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7FD9D6A8-C167-8BB6-D2AB-66CA00E85F2A}"/>
              </a:ext>
            </a:extLst>
          </p:cNvPr>
          <p:cNvSpPr txBox="1">
            <a:spLocks/>
          </p:cNvSpPr>
          <p:nvPr/>
        </p:nvSpPr>
        <p:spPr>
          <a:xfrm>
            <a:off x="2385399" y="3757247"/>
            <a:ext cx="1719946" cy="163200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5760" indent="-18288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0352" indent="-164592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 spc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687388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 cap="none" spc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858837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 lang="en-US" sz="1200" b="0" kern="1200" cap="none" spc="0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spc="60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Validating Infrastructure Resilience Against complex </a:t>
            </a:r>
            <a:r>
              <a:rPr lang="en-US" b="1" dirty="0"/>
              <a:t>Application Workloads</a:t>
            </a:r>
          </a:p>
          <a:p>
            <a:endParaRPr lang="en-US" b="1" dirty="0"/>
          </a:p>
          <a:p>
            <a:endParaRPr lang="en-US" dirty="0"/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29432C27-09EF-46AD-7DDF-38CF07039B4C}"/>
              </a:ext>
            </a:extLst>
          </p:cNvPr>
          <p:cNvSpPr txBox="1">
            <a:spLocks/>
          </p:cNvSpPr>
          <p:nvPr/>
        </p:nvSpPr>
        <p:spPr>
          <a:xfrm>
            <a:off x="4316818" y="3757247"/>
            <a:ext cx="1719946" cy="163200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5760" indent="-18288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0352" indent="-164592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 spc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687388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 cap="none" spc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858837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 lang="en-US" sz="1200" b="0" kern="1200" cap="none" spc="0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spc="60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Safely Validating  </a:t>
            </a:r>
            <a:r>
              <a:rPr lang="en-US" b="1" dirty="0"/>
              <a:t>Network Security </a:t>
            </a:r>
            <a:r>
              <a:rPr lang="en-US" dirty="0"/>
              <a:t>Postures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77816136-579C-F666-33E6-496300F2B9CC}"/>
              </a:ext>
            </a:extLst>
          </p:cNvPr>
          <p:cNvSpPr txBox="1">
            <a:spLocks/>
          </p:cNvSpPr>
          <p:nvPr/>
        </p:nvSpPr>
        <p:spPr>
          <a:xfrm>
            <a:off x="6155240" y="3732314"/>
            <a:ext cx="1719946" cy="163200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5760" indent="-18288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0352" indent="-164592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 spc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687388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 cap="none" spc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858837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 lang="en-US" sz="1200" b="0" kern="1200" cap="none" spc="0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spc="60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Validating Network Scale by Emulating </a:t>
            </a:r>
            <a:r>
              <a:rPr lang="en-US" b="1" dirty="0"/>
              <a:t>User Scale and traffic Concurrency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05285D21-8449-A089-F58A-ACB4FF614777}"/>
              </a:ext>
            </a:extLst>
          </p:cNvPr>
          <p:cNvSpPr txBox="1">
            <a:spLocks/>
          </p:cNvSpPr>
          <p:nvPr/>
        </p:nvSpPr>
        <p:spPr>
          <a:xfrm>
            <a:off x="8086657" y="3757246"/>
            <a:ext cx="1719946" cy="163200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5760" indent="-18288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0352" indent="-164592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 spc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687388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 cap="none" spc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858837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 lang="en-US" sz="1200" b="0" kern="1200" cap="none" spc="0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spc="60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Validating </a:t>
            </a:r>
            <a:r>
              <a:rPr lang="en-US" b="1" dirty="0"/>
              <a:t>network readiness for new AI i</a:t>
            </a:r>
            <a:r>
              <a:rPr lang="en-US" dirty="0"/>
              <a:t>nferencing and security workloads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B4C9D51D-3FC2-90E6-4D25-89B167633D6C}"/>
              </a:ext>
            </a:extLst>
          </p:cNvPr>
          <p:cNvSpPr txBox="1">
            <a:spLocks/>
          </p:cNvSpPr>
          <p:nvPr/>
        </p:nvSpPr>
        <p:spPr>
          <a:xfrm>
            <a:off x="10018074" y="3757245"/>
            <a:ext cx="1719946" cy="163200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5760" indent="-18288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0352" indent="-164592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 spc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687388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 cap="none" spc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858837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 lang="en-US" sz="1200" b="0" kern="1200" cap="none" spc="0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spc="60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/>
              <a:t>Statistics</a:t>
            </a:r>
            <a:r>
              <a:rPr lang="en-US" dirty="0"/>
              <a:t> that point to Issue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610484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ound Diagonal Corner Rectangle 9">
            <a:extLst>
              <a:ext uri="{FF2B5EF4-FFF2-40B4-BE49-F238E27FC236}">
                <a16:creationId xmlns:a16="http://schemas.microsoft.com/office/drawing/2014/main" id="{729F9310-5B63-91A1-6387-ABBFE43BAF28}"/>
              </a:ext>
            </a:extLst>
          </p:cNvPr>
          <p:cNvSpPr/>
          <p:nvPr/>
        </p:nvSpPr>
        <p:spPr>
          <a:xfrm>
            <a:off x="669030" y="4019032"/>
            <a:ext cx="3076280" cy="1042618"/>
          </a:xfrm>
          <a:prstGeom prst="round2DiagRect">
            <a:avLst/>
          </a:prstGeom>
          <a:noFill/>
          <a:ln w="38100">
            <a:solidFill>
              <a:srgbClr val="0070C0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9" name="Round Diagonal Corner Rectangle 8">
            <a:extLst>
              <a:ext uri="{FF2B5EF4-FFF2-40B4-BE49-F238E27FC236}">
                <a16:creationId xmlns:a16="http://schemas.microsoft.com/office/drawing/2014/main" id="{1699E544-8F5A-7190-5C20-3029D186F31E}"/>
              </a:ext>
            </a:extLst>
          </p:cNvPr>
          <p:cNvSpPr/>
          <p:nvPr/>
        </p:nvSpPr>
        <p:spPr>
          <a:xfrm>
            <a:off x="4582302" y="1161535"/>
            <a:ext cx="3076280" cy="1042618"/>
          </a:xfrm>
          <a:prstGeom prst="round2DiagRect">
            <a:avLst/>
          </a:prstGeom>
          <a:gradFill flip="none" rotWithShape="1">
            <a:gsLst>
              <a:gs pos="0">
                <a:schemeClr val="accent5">
                  <a:lumMod val="5000"/>
                  <a:lumOff val="95000"/>
                </a:schemeClr>
              </a:gs>
              <a:gs pos="74000">
                <a:schemeClr val="accent5">
                  <a:lumMod val="45000"/>
                  <a:lumOff val="55000"/>
                </a:schemeClr>
              </a:gs>
              <a:gs pos="83000">
                <a:schemeClr val="accent5">
                  <a:lumMod val="45000"/>
                  <a:lumOff val="55000"/>
                </a:schemeClr>
              </a:gs>
              <a:gs pos="100000">
                <a:schemeClr val="accent5">
                  <a:lumMod val="30000"/>
                  <a:lumOff val="70000"/>
                </a:schemeClr>
              </a:gs>
            </a:gsLst>
            <a:lin ang="5400000" scaled="1"/>
            <a:tileRect/>
          </a:gradFill>
          <a:ln w="38100">
            <a:solidFill>
              <a:srgbClr val="0070C0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ABAD5362-21A5-5F3D-1C91-250EC8F88628}"/>
              </a:ext>
            </a:extLst>
          </p:cNvPr>
          <p:cNvSpPr txBox="1"/>
          <p:nvPr/>
        </p:nvSpPr>
        <p:spPr>
          <a:xfrm>
            <a:off x="5992642" y="4276432"/>
            <a:ext cx="1514087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/>
            </a:lvl1pPr>
          </a:lstStyle>
          <a:p>
            <a:r>
              <a:rPr lang="en-US" sz="1200"/>
              <a:t>Source of Truth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01517D56-0C3C-34F8-4EA6-F7CA83B102B1}"/>
              </a:ext>
            </a:extLst>
          </p:cNvPr>
          <p:cNvSpPr txBox="1"/>
          <p:nvPr/>
        </p:nvSpPr>
        <p:spPr>
          <a:xfrm>
            <a:off x="4680243" y="4279897"/>
            <a:ext cx="1514087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/>
            </a:lvl1pPr>
          </a:lstStyle>
          <a:p>
            <a:r>
              <a:rPr lang="en-US" sz="1200"/>
              <a:t>Test Results</a:t>
            </a:r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F0EB769F-3895-D89E-BC2C-E24B2157EF4A}"/>
              </a:ext>
            </a:extLst>
          </p:cNvPr>
          <p:cNvSpPr/>
          <p:nvPr/>
        </p:nvSpPr>
        <p:spPr>
          <a:xfrm>
            <a:off x="1026543" y="3402052"/>
            <a:ext cx="2486610" cy="688676"/>
          </a:xfrm>
          <a:prstGeom prst="round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rgbClr val="F9F9F9"/>
              </a:gs>
            </a:gsLst>
            <a:lin ang="0" scaled="0"/>
            <a:tileRect/>
          </a:gradFill>
          <a:ln w="25400"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74000">
                  <a:schemeClr val="accent4">
                    <a:lumMod val="45000"/>
                    <a:lumOff val="55000"/>
                  </a:schemeClr>
                </a:gs>
                <a:gs pos="83000">
                  <a:schemeClr val="accent4">
                    <a:lumMod val="45000"/>
                    <a:lumOff val="55000"/>
                  </a:schemeClr>
                </a:gs>
                <a:gs pos="100000">
                  <a:schemeClr val="accent4">
                    <a:lumMod val="30000"/>
                    <a:lumOff val="70000"/>
                  </a:schemeClr>
                </a:gs>
              </a:gsLst>
              <a:lin ang="5400000" scaled="1"/>
              <a:tileRect/>
            </a:gra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9144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r>
              <a:rPr lang="en-US" sz="1400" b="1" dirty="0">
                <a:solidFill>
                  <a:srgbClr val="404040"/>
                </a:solidFill>
                <a:latin typeface="Arial"/>
              </a:rPr>
              <a:t>Network operators</a:t>
            </a:r>
          </a:p>
          <a:p>
            <a:pPr algn="ctr" defTabSz="914400"/>
            <a:r>
              <a:rPr lang="en-US" sz="1400" b="1" dirty="0">
                <a:solidFill>
                  <a:srgbClr val="404040"/>
                </a:solidFill>
                <a:latin typeface="Arial"/>
              </a:rPr>
              <a:t>(</a:t>
            </a:r>
            <a:r>
              <a:rPr lang="en-US" sz="1400" b="1" dirty="0" err="1">
                <a:solidFill>
                  <a:srgbClr val="404040"/>
                </a:solidFill>
                <a:latin typeface="Arial"/>
              </a:rPr>
              <a:t>Hyperscalers</a:t>
            </a:r>
            <a:r>
              <a:rPr lang="en-US" sz="1400" b="1" dirty="0">
                <a:solidFill>
                  <a:srgbClr val="404040"/>
                </a:solidFill>
                <a:latin typeface="Arial"/>
              </a:rPr>
              <a:t>, CSP, Telcos)</a:t>
            </a:r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86FE4515-1428-B2AD-6E51-DDF087F6574D}"/>
              </a:ext>
            </a:extLst>
          </p:cNvPr>
          <p:cNvSpPr/>
          <p:nvPr/>
        </p:nvSpPr>
        <p:spPr>
          <a:xfrm>
            <a:off x="8964040" y="3103627"/>
            <a:ext cx="2355011" cy="655607"/>
          </a:xfrm>
          <a:prstGeom prst="round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rgbClr val="F9F9F9"/>
              </a:gs>
            </a:gsLst>
            <a:lin ang="0" scaled="0"/>
            <a:tileRect/>
          </a:gradFill>
          <a:ln w="25400">
            <a:solidFill>
              <a:schemeClr val="accent5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9144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r>
              <a:rPr lang="en-US" sz="1400" b="1">
                <a:solidFill>
                  <a:srgbClr val="404040"/>
                </a:solidFill>
                <a:latin typeface="Arial"/>
              </a:rPr>
              <a:t>NEMs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12BDF657-65AC-5D1B-78B2-560C765B6354}"/>
              </a:ext>
            </a:extLst>
          </p:cNvPr>
          <p:cNvSpPr/>
          <p:nvPr/>
        </p:nvSpPr>
        <p:spPr>
          <a:xfrm>
            <a:off x="9094473" y="3259217"/>
            <a:ext cx="2355011" cy="655607"/>
          </a:xfrm>
          <a:prstGeom prst="round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rgbClr val="F9F9F9"/>
              </a:gs>
            </a:gsLst>
            <a:lin ang="0" scaled="0"/>
            <a:tileRect/>
          </a:gradFill>
          <a:ln w="25400">
            <a:solidFill>
              <a:schemeClr val="accent5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9144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r>
              <a:rPr lang="en-US" sz="1400" b="1">
                <a:solidFill>
                  <a:srgbClr val="404040"/>
                </a:solidFill>
                <a:latin typeface="Arial"/>
              </a:rPr>
              <a:t>NEMs</a:t>
            </a:r>
          </a:p>
        </p:txBody>
      </p:sp>
      <p:sp>
        <p:nvSpPr>
          <p:cNvPr id="6" name="Alternate Process 5">
            <a:extLst>
              <a:ext uri="{FF2B5EF4-FFF2-40B4-BE49-F238E27FC236}">
                <a16:creationId xmlns:a16="http://schemas.microsoft.com/office/drawing/2014/main" id="{3243FA3A-2027-9790-4762-E8D2C7C74D48}"/>
              </a:ext>
            </a:extLst>
          </p:cNvPr>
          <p:cNvSpPr/>
          <p:nvPr/>
        </p:nvSpPr>
        <p:spPr>
          <a:xfrm>
            <a:off x="4582302" y="3319535"/>
            <a:ext cx="3076280" cy="853710"/>
          </a:xfrm>
          <a:prstGeom prst="flowChartAlternateProcess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rgbClr val="F9F9F9"/>
              </a:gs>
            </a:gsLst>
            <a:lin ang="0" scaled="0"/>
            <a:tileRect/>
          </a:gradFill>
          <a:ln w="25400"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74000">
                  <a:schemeClr val="accent4">
                    <a:lumMod val="45000"/>
                    <a:lumOff val="55000"/>
                  </a:schemeClr>
                </a:gs>
                <a:gs pos="83000">
                  <a:schemeClr val="accent4">
                    <a:lumMod val="45000"/>
                    <a:lumOff val="55000"/>
                  </a:schemeClr>
                </a:gs>
                <a:gs pos="100000">
                  <a:schemeClr val="accent4">
                    <a:lumMod val="30000"/>
                    <a:lumOff val="70000"/>
                  </a:schemeClr>
                </a:gs>
              </a:gsLst>
              <a:lin ang="5400000" scaled="1"/>
              <a:tileRect/>
            </a:gra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9144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 lang="en-US" sz="1400" b="1" dirty="0">
              <a:solidFill>
                <a:srgbClr val="404040"/>
              </a:solidFill>
              <a:latin typeface="Arial"/>
            </a:endParaRPr>
          </a:p>
          <a:p>
            <a:pPr algn="ctr" defTabSz="914400"/>
            <a:endParaRPr lang="en-US" sz="1400" b="1" dirty="0">
              <a:solidFill>
                <a:srgbClr val="404040"/>
              </a:solidFill>
              <a:latin typeface="Arial"/>
            </a:endParaRPr>
          </a:p>
          <a:p>
            <a:pPr algn="ctr" defTabSz="914400"/>
            <a:r>
              <a:rPr lang="en-US" sz="1400" b="1" dirty="0">
                <a:solidFill>
                  <a:srgbClr val="404040"/>
                </a:solidFill>
                <a:latin typeface="Arial"/>
              </a:rPr>
              <a:t>Compliance &amp; Benchmarks</a:t>
            </a:r>
          </a:p>
        </p:txBody>
      </p:sp>
      <p:sp>
        <p:nvSpPr>
          <p:cNvPr id="24" name="Left Arrow 23">
            <a:extLst>
              <a:ext uri="{FF2B5EF4-FFF2-40B4-BE49-F238E27FC236}">
                <a16:creationId xmlns:a16="http://schemas.microsoft.com/office/drawing/2014/main" id="{CCA18486-62DB-0B3C-E266-9625DEC8CDC6}"/>
              </a:ext>
            </a:extLst>
          </p:cNvPr>
          <p:cNvSpPr/>
          <p:nvPr/>
        </p:nvSpPr>
        <p:spPr>
          <a:xfrm>
            <a:off x="7707678" y="3562456"/>
            <a:ext cx="1212428" cy="327804"/>
          </a:xfrm>
          <a:prstGeom prst="leftArrow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5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98522C2-D221-D32C-E2B3-7AEBFFB8BF26}"/>
              </a:ext>
            </a:extLst>
          </p:cNvPr>
          <p:cNvSpPr txBox="1"/>
          <p:nvPr/>
        </p:nvSpPr>
        <p:spPr>
          <a:xfrm>
            <a:off x="3522631" y="3139407"/>
            <a:ext cx="972487" cy="46166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200"/>
              <a:t>Common</a:t>
            </a:r>
          </a:p>
          <a:p>
            <a:pPr algn="ctr"/>
            <a:r>
              <a:rPr lang="en-US" sz="1200"/>
              <a:t>Criteria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3E14631-1EF8-19A6-AADD-D0D2603183D6}"/>
              </a:ext>
            </a:extLst>
          </p:cNvPr>
          <p:cNvSpPr txBox="1"/>
          <p:nvPr/>
        </p:nvSpPr>
        <p:spPr>
          <a:xfrm>
            <a:off x="7745766" y="3213924"/>
            <a:ext cx="1103962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/>
            </a:lvl1pPr>
          </a:lstStyle>
          <a:p>
            <a:r>
              <a:rPr lang="en-US" sz="1200"/>
              <a:t>Products</a:t>
            </a:r>
          </a:p>
        </p:txBody>
      </p:sp>
      <p:sp>
        <p:nvSpPr>
          <p:cNvPr id="30" name="Left Arrow 23">
            <a:extLst>
              <a:ext uri="{FF2B5EF4-FFF2-40B4-BE49-F238E27FC236}">
                <a16:creationId xmlns:a16="http://schemas.microsoft.com/office/drawing/2014/main" id="{0C063B43-2EE1-4AD1-9CFA-76676038669F}"/>
              </a:ext>
            </a:extLst>
          </p:cNvPr>
          <p:cNvSpPr/>
          <p:nvPr/>
        </p:nvSpPr>
        <p:spPr>
          <a:xfrm rot="10800000">
            <a:off x="3589352" y="3582488"/>
            <a:ext cx="943853" cy="327804"/>
          </a:xfrm>
          <a:prstGeom prst="leftArrow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5"/>
              </a:solidFill>
            </a:endParaRPr>
          </a:p>
        </p:txBody>
      </p:sp>
      <p:sp>
        <p:nvSpPr>
          <p:cNvPr id="31" name="Left Arrow 23">
            <a:extLst>
              <a:ext uri="{FF2B5EF4-FFF2-40B4-BE49-F238E27FC236}">
                <a16:creationId xmlns:a16="http://schemas.microsoft.com/office/drawing/2014/main" id="{494FD87A-4D37-4823-830F-1C2478FA7B38}"/>
              </a:ext>
            </a:extLst>
          </p:cNvPr>
          <p:cNvSpPr/>
          <p:nvPr/>
        </p:nvSpPr>
        <p:spPr>
          <a:xfrm rot="16200000">
            <a:off x="5831094" y="2866083"/>
            <a:ext cx="524786" cy="327804"/>
          </a:xfrm>
          <a:prstGeom prst="leftArrow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5"/>
              </a:solidFill>
            </a:endParaRP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F8ADF9D8-D720-40F9-849F-CAC691983D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NG adoption model: </a:t>
            </a:r>
            <a:r>
              <a:rPr lang="en-US" dirty="0" err="1"/>
              <a:t>OpenConfig</a:t>
            </a:r>
            <a:r>
              <a:rPr lang="en-US" dirty="0"/>
              <a:t> project ecosystem</a:t>
            </a:r>
          </a:p>
        </p:txBody>
      </p:sp>
      <p:grpSp>
        <p:nvGrpSpPr>
          <p:cNvPr id="13" name="Graphic 34">
            <a:extLst>
              <a:ext uri="{FF2B5EF4-FFF2-40B4-BE49-F238E27FC236}">
                <a16:creationId xmlns:a16="http://schemas.microsoft.com/office/drawing/2014/main" id="{CF9D518F-E55F-6348-78F6-2CCF498DC223}"/>
              </a:ext>
            </a:extLst>
          </p:cNvPr>
          <p:cNvGrpSpPr/>
          <p:nvPr/>
        </p:nvGrpSpPr>
        <p:grpSpPr>
          <a:xfrm>
            <a:off x="982386" y="1748065"/>
            <a:ext cx="1714500" cy="1714500"/>
            <a:chOff x="2667000" y="4114800"/>
            <a:chExt cx="1714500" cy="1714500"/>
          </a:xfrm>
          <a:solidFill>
            <a:schemeClr val="accent5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4" name="Freeform: Shape 403">
              <a:extLst>
                <a:ext uri="{FF2B5EF4-FFF2-40B4-BE49-F238E27FC236}">
                  <a16:creationId xmlns:a16="http://schemas.microsoft.com/office/drawing/2014/main" id="{4BA77BA7-9047-3E6B-CF7F-3626B6B58A1D}"/>
                </a:ext>
              </a:extLst>
            </p:cNvPr>
            <p:cNvSpPr/>
            <p:nvPr/>
          </p:nvSpPr>
          <p:spPr>
            <a:xfrm>
              <a:off x="3183277" y="4759588"/>
              <a:ext cx="981075" cy="714375"/>
            </a:xfrm>
            <a:custGeom>
              <a:avLst/>
              <a:gdLst>
                <a:gd name="connsiteX0" fmla="*/ 791125 w 981075"/>
                <a:gd name="connsiteY0" fmla="*/ 715573 h 714375"/>
                <a:gd name="connsiteX1" fmla="*/ 245723 w 981075"/>
                <a:gd name="connsiteY1" fmla="*/ 715573 h 714375"/>
                <a:gd name="connsiteX2" fmla="*/ 93323 w 981075"/>
                <a:gd name="connsiteY2" fmla="*/ 660804 h 714375"/>
                <a:gd name="connsiteX3" fmla="*/ 8551 w 981075"/>
                <a:gd name="connsiteY3" fmla="*/ 448015 h 714375"/>
                <a:gd name="connsiteX4" fmla="*/ 208576 w 981075"/>
                <a:gd name="connsiteY4" fmla="*/ 240180 h 714375"/>
                <a:gd name="connsiteX5" fmla="*/ 210005 w 981075"/>
                <a:gd name="connsiteY5" fmla="*/ 238751 h 714375"/>
                <a:gd name="connsiteX6" fmla="*/ 306302 w 981075"/>
                <a:gd name="connsiteY6" fmla="*/ 75588 h 714375"/>
                <a:gd name="connsiteX7" fmla="*/ 493278 w 981075"/>
                <a:gd name="connsiteY7" fmla="*/ 7198 h 714375"/>
                <a:gd name="connsiteX8" fmla="*/ 695589 w 981075"/>
                <a:gd name="connsiteY8" fmla="*/ 90447 h 714375"/>
                <a:gd name="connsiteX9" fmla="*/ 781314 w 981075"/>
                <a:gd name="connsiteY9" fmla="*/ 292663 h 714375"/>
                <a:gd name="connsiteX10" fmla="*/ 781314 w 981075"/>
                <a:gd name="connsiteY10" fmla="*/ 333144 h 714375"/>
                <a:gd name="connsiteX11" fmla="*/ 782457 w 981075"/>
                <a:gd name="connsiteY11" fmla="*/ 334573 h 714375"/>
                <a:gd name="connsiteX12" fmla="*/ 817890 w 981075"/>
                <a:gd name="connsiteY12" fmla="*/ 339621 h 714375"/>
                <a:gd name="connsiteX13" fmla="*/ 925428 w 981075"/>
                <a:gd name="connsiteY13" fmla="*/ 394485 h 714375"/>
                <a:gd name="connsiteX14" fmla="*/ 923383 w 981075"/>
                <a:gd name="connsiteY14" fmla="*/ 661325 h 714375"/>
                <a:gd name="connsiteX15" fmla="*/ 790649 w 981075"/>
                <a:gd name="connsiteY15" fmla="*/ 715573 h 714375"/>
                <a:gd name="connsiteX16" fmla="*/ 493373 w 981075"/>
                <a:gd name="connsiteY16" fmla="*/ 54823 h 714375"/>
                <a:gd name="connsiteX17" fmla="*/ 338973 w 981075"/>
                <a:gd name="connsiteY17" fmla="*/ 110259 h 714375"/>
                <a:gd name="connsiteX18" fmla="*/ 255820 w 981075"/>
                <a:gd name="connsiteY18" fmla="*/ 252277 h 714375"/>
                <a:gd name="connsiteX19" fmla="*/ 221435 w 981075"/>
                <a:gd name="connsiteY19" fmla="*/ 286090 h 714375"/>
                <a:gd name="connsiteX20" fmla="*/ 55795 w 981075"/>
                <a:gd name="connsiteY20" fmla="*/ 452778 h 714375"/>
                <a:gd name="connsiteX21" fmla="*/ 123994 w 981075"/>
                <a:gd name="connsiteY21" fmla="*/ 624228 h 714375"/>
                <a:gd name="connsiteX22" fmla="*/ 245723 w 981075"/>
                <a:gd name="connsiteY22" fmla="*/ 667948 h 714375"/>
                <a:gd name="connsiteX23" fmla="*/ 790839 w 981075"/>
                <a:gd name="connsiteY23" fmla="*/ 667948 h 714375"/>
                <a:gd name="connsiteX24" fmla="*/ 932114 w 981075"/>
                <a:gd name="connsiteY24" fmla="*/ 526901 h 714375"/>
                <a:gd name="connsiteX25" fmla="*/ 891519 w 981075"/>
                <a:gd name="connsiteY25" fmla="*/ 427727 h 714375"/>
                <a:gd name="connsiteX26" fmla="*/ 811128 w 981075"/>
                <a:gd name="connsiteY26" fmla="*/ 386770 h 714375"/>
                <a:gd name="connsiteX27" fmla="*/ 775980 w 981075"/>
                <a:gd name="connsiteY27" fmla="*/ 381721 h 714375"/>
                <a:gd name="connsiteX28" fmla="*/ 733880 w 981075"/>
                <a:gd name="connsiteY28" fmla="*/ 331715 h 714375"/>
                <a:gd name="connsiteX29" fmla="*/ 733880 w 981075"/>
                <a:gd name="connsiteY29" fmla="*/ 294472 h 714375"/>
                <a:gd name="connsiteX30" fmla="*/ 661776 w 981075"/>
                <a:gd name="connsiteY30" fmla="*/ 123880 h 714375"/>
                <a:gd name="connsiteX31" fmla="*/ 493373 w 981075"/>
                <a:gd name="connsiteY31" fmla="*/ 54823 h 714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981075" h="714375">
                  <a:moveTo>
                    <a:pt x="791125" y="715573"/>
                  </a:moveTo>
                  <a:lnTo>
                    <a:pt x="245723" y="715573"/>
                  </a:lnTo>
                  <a:cubicBezTo>
                    <a:pt x="189971" y="716350"/>
                    <a:pt x="135827" y="696892"/>
                    <a:pt x="93323" y="660804"/>
                  </a:cubicBezTo>
                  <a:cubicBezTo>
                    <a:pt x="31619" y="608255"/>
                    <a:pt x="-115" y="528599"/>
                    <a:pt x="8551" y="448015"/>
                  </a:cubicBezTo>
                  <a:cubicBezTo>
                    <a:pt x="19028" y="344002"/>
                    <a:pt x="86465" y="274089"/>
                    <a:pt x="208576" y="240180"/>
                  </a:cubicBezTo>
                  <a:cubicBezTo>
                    <a:pt x="209327" y="240096"/>
                    <a:pt x="209920" y="239503"/>
                    <a:pt x="210005" y="238751"/>
                  </a:cubicBezTo>
                  <a:cubicBezTo>
                    <a:pt x="226945" y="176734"/>
                    <a:pt x="260198" y="120392"/>
                    <a:pt x="306302" y="75588"/>
                  </a:cubicBezTo>
                  <a:cubicBezTo>
                    <a:pt x="354690" y="30154"/>
                    <a:pt x="417650" y="7198"/>
                    <a:pt x="493278" y="7198"/>
                  </a:cubicBezTo>
                  <a:cubicBezTo>
                    <a:pt x="569344" y="5682"/>
                    <a:pt x="642620" y="35834"/>
                    <a:pt x="695589" y="90447"/>
                  </a:cubicBezTo>
                  <a:cubicBezTo>
                    <a:pt x="749329" y="144169"/>
                    <a:pt x="780071" y="216685"/>
                    <a:pt x="781314" y="292663"/>
                  </a:cubicBezTo>
                  <a:lnTo>
                    <a:pt x="781314" y="333144"/>
                  </a:lnTo>
                  <a:cubicBezTo>
                    <a:pt x="781300" y="333834"/>
                    <a:pt x="781781" y="334435"/>
                    <a:pt x="782457" y="334573"/>
                  </a:cubicBezTo>
                  <a:lnTo>
                    <a:pt x="817890" y="339621"/>
                  </a:lnTo>
                  <a:cubicBezTo>
                    <a:pt x="858850" y="345410"/>
                    <a:pt x="896700" y="364721"/>
                    <a:pt x="925428" y="394485"/>
                  </a:cubicBezTo>
                  <a:cubicBezTo>
                    <a:pt x="998549" y="468735"/>
                    <a:pt x="997633" y="588204"/>
                    <a:pt x="923383" y="661325"/>
                  </a:cubicBezTo>
                  <a:cubicBezTo>
                    <a:pt x="888000" y="696170"/>
                    <a:pt x="840308" y="715661"/>
                    <a:pt x="790649" y="715573"/>
                  </a:cubicBezTo>
                  <a:close/>
                  <a:moveTo>
                    <a:pt x="493373" y="54823"/>
                  </a:moveTo>
                  <a:cubicBezTo>
                    <a:pt x="429365" y="54823"/>
                    <a:pt x="379073" y="72921"/>
                    <a:pt x="338973" y="110259"/>
                  </a:cubicBezTo>
                  <a:cubicBezTo>
                    <a:pt x="299047" y="149304"/>
                    <a:pt x="270330" y="198349"/>
                    <a:pt x="255820" y="252277"/>
                  </a:cubicBezTo>
                  <a:cubicBezTo>
                    <a:pt x="250990" y="268744"/>
                    <a:pt x="237980" y="281537"/>
                    <a:pt x="221435" y="286090"/>
                  </a:cubicBezTo>
                  <a:cubicBezTo>
                    <a:pt x="118469" y="314665"/>
                    <a:pt x="64272" y="369148"/>
                    <a:pt x="55795" y="452778"/>
                  </a:cubicBezTo>
                  <a:cubicBezTo>
                    <a:pt x="48853" y="517679"/>
                    <a:pt x="74370" y="581828"/>
                    <a:pt x="123994" y="624228"/>
                  </a:cubicBezTo>
                  <a:cubicBezTo>
                    <a:pt x="157800" y="653299"/>
                    <a:pt x="201147" y="668867"/>
                    <a:pt x="245723" y="667948"/>
                  </a:cubicBezTo>
                  <a:lnTo>
                    <a:pt x="790839" y="667948"/>
                  </a:lnTo>
                  <a:cubicBezTo>
                    <a:pt x="868800" y="668011"/>
                    <a:pt x="932051" y="604862"/>
                    <a:pt x="932114" y="526901"/>
                  </a:cubicBezTo>
                  <a:cubicBezTo>
                    <a:pt x="932144" y="489792"/>
                    <a:pt x="917560" y="454164"/>
                    <a:pt x="891519" y="427727"/>
                  </a:cubicBezTo>
                  <a:cubicBezTo>
                    <a:pt x="870125" y="405375"/>
                    <a:pt x="841786" y="390937"/>
                    <a:pt x="811128" y="386770"/>
                  </a:cubicBezTo>
                  <a:lnTo>
                    <a:pt x="775980" y="381721"/>
                  </a:lnTo>
                  <a:cubicBezTo>
                    <a:pt x="751267" y="378194"/>
                    <a:pt x="733144" y="356668"/>
                    <a:pt x="733880" y="331715"/>
                  </a:cubicBezTo>
                  <a:cubicBezTo>
                    <a:pt x="734356" y="316189"/>
                    <a:pt x="734356" y="303712"/>
                    <a:pt x="733880" y="294472"/>
                  </a:cubicBezTo>
                  <a:cubicBezTo>
                    <a:pt x="733298" y="230321"/>
                    <a:pt x="707380" y="169001"/>
                    <a:pt x="661776" y="123880"/>
                  </a:cubicBezTo>
                  <a:cubicBezTo>
                    <a:pt x="617847" y="78208"/>
                    <a:pt x="556720" y="53142"/>
                    <a:pt x="493373" y="548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accent5"/>
                </a:solidFill>
              </a:endParaRPr>
            </a:p>
          </p:txBody>
        </p:sp>
        <p:sp>
          <p:nvSpPr>
            <p:cNvPr id="18" name="Freeform: Shape 421">
              <a:extLst>
                <a:ext uri="{FF2B5EF4-FFF2-40B4-BE49-F238E27FC236}">
                  <a16:creationId xmlns:a16="http://schemas.microsoft.com/office/drawing/2014/main" id="{F23A4EA4-021A-8EBD-9904-B395B91998D8}"/>
                </a:ext>
              </a:extLst>
            </p:cNvPr>
            <p:cNvSpPr/>
            <p:nvPr/>
          </p:nvSpPr>
          <p:spPr>
            <a:xfrm>
              <a:off x="2889357" y="4630156"/>
              <a:ext cx="647700" cy="609600"/>
            </a:xfrm>
            <a:custGeom>
              <a:avLst/>
              <a:gdLst>
                <a:gd name="connsiteX0" fmla="*/ 326473 w 647700"/>
                <a:gd name="connsiteY0" fmla="*/ 604974 h 609600"/>
                <a:gd name="connsiteX1" fmla="*/ 166167 w 647700"/>
                <a:gd name="connsiteY1" fmla="*/ 604974 h 609600"/>
                <a:gd name="connsiteX2" fmla="*/ 53772 w 647700"/>
                <a:gd name="connsiteY2" fmla="*/ 557349 h 609600"/>
                <a:gd name="connsiteX3" fmla="*/ 7290 w 647700"/>
                <a:gd name="connsiteY3" fmla="*/ 451431 h 609600"/>
                <a:gd name="connsiteX4" fmla="*/ 52534 w 647700"/>
                <a:gd name="connsiteY4" fmla="*/ 331035 h 609600"/>
                <a:gd name="connsiteX5" fmla="*/ 143022 w 647700"/>
                <a:gd name="connsiteY5" fmla="*/ 284077 h 609600"/>
                <a:gd name="connsiteX6" fmla="*/ 169311 w 647700"/>
                <a:gd name="connsiteY6" fmla="*/ 280267 h 609600"/>
                <a:gd name="connsiteX7" fmla="*/ 169311 w 647700"/>
                <a:gd name="connsiteY7" fmla="*/ 248548 h 609600"/>
                <a:gd name="connsiteX8" fmla="*/ 240558 w 647700"/>
                <a:gd name="connsiteY8" fmla="*/ 77860 h 609600"/>
                <a:gd name="connsiteX9" fmla="*/ 409341 w 647700"/>
                <a:gd name="connsiteY9" fmla="*/ 7185 h 609600"/>
                <a:gd name="connsiteX10" fmla="*/ 565455 w 647700"/>
                <a:gd name="connsiteY10" fmla="*/ 65287 h 609600"/>
                <a:gd name="connsiteX11" fmla="*/ 645370 w 647700"/>
                <a:gd name="connsiteY11" fmla="*/ 202829 h 609600"/>
                <a:gd name="connsiteX12" fmla="*/ 599650 w 647700"/>
                <a:gd name="connsiteY12" fmla="*/ 216164 h 609600"/>
                <a:gd name="connsiteX13" fmla="*/ 532975 w 647700"/>
                <a:gd name="connsiteY13" fmla="*/ 99578 h 609600"/>
                <a:gd name="connsiteX14" fmla="*/ 409722 w 647700"/>
                <a:gd name="connsiteY14" fmla="*/ 54620 h 609600"/>
                <a:gd name="connsiteX15" fmla="*/ 275133 w 647700"/>
                <a:gd name="connsiteY15" fmla="*/ 110817 h 609600"/>
                <a:gd name="connsiteX16" fmla="*/ 216936 w 647700"/>
                <a:gd name="connsiteY16" fmla="*/ 250454 h 609600"/>
                <a:gd name="connsiteX17" fmla="*/ 216936 w 647700"/>
                <a:gd name="connsiteY17" fmla="*/ 281410 h 609600"/>
                <a:gd name="connsiteX18" fmla="*/ 178836 w 647700"/>
                <a:gd name="connsiteY18" fmla="*/ 327035 h 609600"/>
                <a:gd name="connsiteX19" fmla="*/ 150261 w 647700"/>
                <a:gd name="connsiteY19" fmla="*/ 331321 h 609600"/>
                <a:gd name="connsiteX20" fmla="*/ 87110 w 647700"/>
                <a:gd name="connsiteY20" fmla="*/ 364087 h 609600"/>
                <a:gd name="connsiteX21" fmla="*/ 55106 w 647700"/>
                <a:gd name="connsiteY21" fmla="*/ 449812 h 609600"/>
                <a:gd name="connsiteX22" fmla="*/ 87967 w 647700"/>
                <a:gd name="connsiteY22" fmla="*/ 524393 h 609600"/>
                <a:gd name="connsiteX23" fmla="*/ 166358 w 647700"/>
                <a:gd name="connsiteY23" fmla="*/ 557825 h 609600"/>
                <a:gd name="connsiteX24" fmla="*/ 326664 w 647700"/>
                <a:gd name="connsiteY24" fmla="*/ 557825 h 609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647700" h="609600">
                  <a:moveTo>
                    <a:pt x="326473" y="604974"/>
                  </a:moveTo>
                  <a:lnTo>
                    <a:pt x="166167" y="604974"/>
                  </a:lnTo>
                  <a:cubicBezTo>
                    <a:pt x="123703" y="605452"/>
                    <a:pt x="82965" y="588190"/>
                    <a:pt x="53772" y="557349"/>
                  </a:cubicBezTo>
                  <a:cubicBezTo>
                    <a:pt x="25369" y="529241"/>
                    <a:pt x="8747" y="491364"/>
                    <a:pt x="7290" y="451431"/>
                  </a:cubicBezTo>
                  <a:cubicBezTo>
                    <a:pt x="5407" y="406822"/>
                    <a:pt x="21738" y="363364"/>
                    <a:pt x="52534" y="331035"/>
                  </a:cubicBezTo>
                  <a:cubicBezTo>
                    <a:pt x="76547" y="305637"/>
                    <a:pt x="108431" y="289091"/>
                    <a:pt x="143022" y="284077"/>
                  </a:cubicBezTo>
                  <a:lnTo>
                    <a:pt x="169311" y="280267"/>
                  </a:lnTo>
                  <a:lnTo>
                    <a:pt x="169311" y="248548"/>
                  </a:lnTo>
                  <a:cubicBezTo>
                    <a:pt x="170271" y="184617"/>
                    <a:pt x="195781" y="123503"/>
                    <a:pt x="240558" y="77860"/>
                  </a:cubicBezTo>
                  <a:cubicBezTo>
                    <a:pt x="284382" y="31624"/>
                    <a:pt x="345646" y="5970"/>
                    <a:pt x="409341" y="7185"/>
                  </a:cubicBezTo>
                  <a:cubicBezTo>
                    <a:pt x="472491" y="7185"/>
                    <a:pt x="524974" y="26235"/>
                    <a:pt x="565455" y="65287"/>
                  </a:cubicBezTo>
                  <a:cubicBezTo>
                    <a:pt x="603798" y="103253"/>
                    <a:pt x="631376" y="150716"/>
                    <a:pt x="645370" y="202829"/>
                  </a:cubicBezTo>
                  <a:lnTo>
                    <a:pt x="599650" y="216164"/>
                  </a:lnTo>
                  <a:cubicBezTo>
                    <a:pt x="588144" y="172082"/>
                    <a:pt x="565134" y="131848"/>
                    <a:pt x="532975" y="99578"/>
                  </a:cubicBezTo>
                  <a:cubicBezTo>
                    <a:pt x="501162" y="69288"/>
                    <a:pt x="460871" y="54620"/>
                    <a:pt x="409722" y="54620"/>
                  </a:cubicBezTo>
                  <a:cubicBezTo>
                    <a:pt x="358899" y="53308"/>
                    <a:pt x="309933" y="73754"/>
                    <a:pt x="275133" y="110817"/>
                  </a:cubicBezTo>
                  <a:cubicBezTo>
                    <a:pt x="238271" y="147995"/>
                    <a:pt x="217388" y="198101"/>
                    <a:pt x="216936" y="250454"/>
                  </a:cubicBezTo>
                  <a:lnTo>
                    <a:pt x="216936" y="281410"/>
                  </a:lnTo>
                  <a:cubicBezTo>
                    <a:pt x="217708" y="304102"/>
                    <a:pt x="201302" y="323749"/>
                    <a:pt x="178836" y="327035"/>
                  </a:cubicBezTo>
                  <a:lnTo>
                    <a:pt x="150261" y="331321"/>
                  </a:lnTo>
                  <a:cubicBezTo>
                    <a:pt x="126088" y="334717"/>
                    <a:pt x="103805" y="346279"/>
                    <a:pt x="87110" y="364087"/>
                  </a:cubicBezTo>
                  <a:cubicBezTo>
                    <a:pt x="65224" y="387118"/>
                    <a:pt x="53668" y="418073"/>
                    <a:pt x="55106" y="449812"/>
                  </a:cubicBezTo>
                  <a:cubicBezTo>
                    <a:pt x="55990" y="477989"/>
                    <a:pt x="67770" y="504724"/>
                    <a:pt x="87967" y="524393"/>
                  </a:cubicBezTo>
                  <a:cubicBezTo>
                    <a:pt x="108180" y="546140"/>
                    <a:pt x="136671" y="558291"/>
                    <a:pt x="166358" y="557825"/>
                  </a:cubicBezTo>
                  <a:lnTo>
                    <a:pt x="326664" y="5578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accent5"/>
                </a:solidFill>
              </a:endParaRPr>
            </a:p>
          </p:txBody>
        </p:sp>
      </p:grpSp>
      <p:grpSp>
        <p:nvGrpSpPr>
          <p:cNvPr id="19" name="Graphic 32">
            <a:extLst>
              <a:ext uri="{FF2B5EF4-FFF2-40B4-BE49-F238E27FC236}">
                <a16:creationId xmlns:a16="http://schemas.microsoft.com/office/drawing/2014/main" id="{86D12374-DB57-B328-8FFD-729BEFBD84D6}"/>
              </a:ext>
            </a:extLst>
          </p:cNvPr>
          <p:cNvGrpSpPr/>
          <p:nvPr/>
        </p:nvGrpSpPr>
        <p:grpSpPr>
          <a:xfrm>
            <a:off x="9221082" y="2079068"/>
            <a:ext cx="1029650" cy="882893"/>
            <a:chOff x="9921999" y="2790920"/>
            <a:chExt cx="868775" cy="807339"/>
          </a:xfrm>
          <a:solidFill>
            <a:schemeClr val="accent5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22" name="Freeform: Shape 449">
              <a:extLst>
                <a:ext uri="{FF2B5EF4-FFF2-40B4-BE49-F238E27FC236}">
                  <a16:creationId xmlns:a16="http://schemas.microsoft.com/office/drawing/2014/main" id="{FFA6027A-523E-732D-AF5B-0465011050A1}"/>
                </a:ext>
              </a:extLst>
            </p:cNvPr>
            <p:cNvSpPr/>
            <p:nvPr/>
          </p:nvSpPr>
          <p:spPr>
            <a:xfrm>
              <a:off x="9923999" y="3312509"/>
              <a:ext cx="866775" cy="285750"/>
            </a:xfrm>
            <a:custGeom>
              <a:avLst/>
              <a:gdLst>
                <a:gd name="connsiteX0" fmla="*/ 50581 w 866775"/>
                <a:gd name="connsiteY0" fmla="*/ 279368 h 285750"/>
                <a:gd name="connsiteX1" fmla="*/ 8480 w 866775"/>
                <a:gd name="connsiteY1" fmla="*/ 237649 h 285750"/>
                <a:gd name="connsiteX2" fmla="*/ 7147 w 866775"/>
                <a:gd name="connsiteY2" fmla="*/ 55435 h 285750"/>
                <a:gd name="connsiteX3" fmla="*/ 19243 w 866775"/>
                <a:gd name="connsiteY3" fmla="*/ 25527 h 285750"/>
                <a:gd name="connsiteX4" fmla="*/ 48676 w 866775"/>
                <a:gd name="connsiteY4" fmla="*/ 13049 h 285750"/>
                <a:gd name="connsiteX5" fmla="*/ 816962 w 866775"/>
                <a:gd name="connsiteY5" fmla="*/ 7144 h 285750"/>
                <a:gd name="connsiteX6" fmla="*/ 816962 w 866775"/>
                <a:gd name="connsiteY6" fmla="*/ 7144 h 285750"/>
                <a:gd name="connsiteX7" fmla="*/ 846490 w 866775"/>
                <a:gd name="connsiteY7" fmla="*/ 19240 h 285750"/>
                <a:gd name="connsiteX8" fmla="*/ 858967 w 866775"/>
                <a:gd name="connsiteY8" fmla="*/ 48863 h 285750"/>
                <a:gd name="connsiteX9" fmla="*/ 860396 w 866775"/>
                <a:gd name="connsiteY9" fmla="*/ 231077 h 285750"/>
                <a:gd name="connsiteX10" fmla="*/ 818679 w 866775"/>
                <a:gd name="connsiteY10" fmla="*/ 273557 h 285750"/>
                <a:gd name="connsiteX11" fmla="*/ 818581 w 866775"/>
                <a:gd name="connsiteY11" fmla="*/ 273558 h 285750"/>
                <a:gd name="connsiteX12" fmla="*/ 50390 w 866775"/>
                <a:gd name="connsiteY12" fmla="*/ 279368 h 285750"/>
                <a:gd name="connsiteX13" fmla="*/ 49152 w 866775"/>
                <a:gd name="connsiteY13" fmla="*/ 50768 h 285750"/>
                <a:gd name="connsiteX14" fmla="*/ 46390 w 866775"/>
                <a:gd name="connsiteY14" fmla="*/ 51911 h 285750"/>
                <a:gd name="connsiteX15" fmla="*/ 45247 w 866775"/>
                <a:gd name="connsiteY15" fmla="*/ 54769 h 285750"/>
                <a:gd name="connsiteX16" fmla="*/ 46580 w 866775"/>
                <a:gd name="connsiteY16" fmla="*/ 236982 h 285750"/>
                <a:gd name="connsiteX17" fmla="*/ 50581 w 866775"/>
                <a:gd name="connsiteY17" fmla="*/ 240887 h 285750"/>
                <a:gd name="connsiteX18" fmla="*/ 50581 w 866775"/>
                <a:gd name="connsiteY18" fmla="*/ 240887 h 285750"/>
                <a:gd name="connsiteX19" fmla="*/ 818772 w 866775"/>
                <a:gd name="connsiteY19" fmla="*/ 235077 h 285750"/>
                <a:gd name="connsiteX20" fmla="*/ 821629 w 866775"/>
                <a:gd name="connsiteY20" fmla="*/ 233839 h 285750"/>
                <a:gd name="connsiteX21" fmla="*/ 822772 w 866775"/>
                <a:gd name="connsiteY21" fmla="*/ 230981 h 285750"/>
                <a:gd name="connsiteX22" fmla="*/ 821344 w 866775"/>
                <a:gd name="connsiteY22" fmla="*/ 48768 h 285750"/>
                <a:gd name="connsiteX23" fmla="*/ 820201 w 866775"/>
                <a:gd name="connsiteY23" fmla="*/ 46006 h 285750"/>
                <a:gd name="connsiteX24" fmla="*/ 817438 w 866775"/>
                <a:gd name="connsiteY24" fmla="*/ 44863 h 285750"/>
                <a:gd name="connsiteX25" fmla="*/ 817438 w 866775"/>
                <a:gd name="connsiteY25" fmla="*/ 44863 h 285750"/>
                <a:gd name="connsiteX26" fmla="*/ 49152 w 866775"/>
                <a:gd name="connsiteY26" fmla="*/ 50768 h 285750"/>
                <a:gd name="connsiteX27" fmla="*/ 49152 w 866775"/>
                <a:gd name="connsiteY27" fmla="*/ 31718 h 285750"/>
                <a:gd name="connsiteX28" fmla="*/ 49152 w 866775"/>
                <a:gd name="connsiteY28" fmla="*/ 31718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866775" h="285750">
                  <a:moveTo>
                    <a:pt x="50581" y="279368"/>
                  </a:moveTo>
                  <a:cubicBezTo>
                    <a:pt x="27498" y="279318"/>
                    <a:pt x="8741" y="260730"/>
                    <a:pt x="8480" y="237649"/>
                  </a:cubicBezTo>
                  <a:lnTo>
                    <a:pt x="7147" y="55435"/>
                  </a:lnTo>
                  <a:cubicBezTo>
                    <a:pt x="7016" y="44249"/>
                    <a:pt x="11373" y="33477"/>
                    <a:pt x="19243" y="25527"/>
                  </a:cubicBezTo>
                  <a:cubicBezTo>
                    <a:pt x="26984" y="17589"/>
                    <a:pt x="37589" y="13093"/>
                    <a:pt x="48676" y="13049"/>
                  </a:cubicBezTo>
                  <a:lnTo>
                    <a:pt x="816962" y="7144"/>
                  </a:lnTo>
                  <a:lnTo>
                    <a:pt x="816962" y="7144"/>
                  </a:lnTo>
                  <a:cubicBezTo>
                    <a:pt x="828011" y="7145"/>
                    <a:pt x="838616" y="11490"/>
                    <a:pt x="846490" y="19240"/>
                  </a:cubicBezTo>
                  <a:cubicBezTo>
                    <a:pt x="854475" y="27027"/>
                    <a:pt x="858975" y="37710"/>
                    <a:pt x="858967" y="48863"/>
                  </a:cubicBezTo>
                  <a:lnTo>
                    <a:pt x="860396" y="231077"/>
                  </a:lnTo>
                  <a:cubicBezTo>
                    <a:pt x="860607" y="254327"/>
                    <a:pt x="841930" y="273346"/>
                    <a:pt x="818679" y="273557"/>
                  </a:cubicBezTo>
                  <a:cubicBezTo>
                    <a:pt x="818647" y="273558"/>
                    <a:pt x="818614" y="273558"/>
                    <a:pt x="818581" y="273558"/>
                  </a:cubicBezTo>
                  <a:lnTo>
                    <a:pt x="50390" y="279368"/>
                  </a:lnTo>
                  <a:close/>
                  <a:moveTo>
                    <a:pt x="49152" y="50768"/>
                  </a:moveTo>
                  <a:cubicBezTo>
                    <a:pt x="48109" y="50733"/>
                    <a:pt x="47103" y="51150"/>
                    <a:pt x="46390" y="51911"/>
                  </a:cubicBezTo>
                  <a:cubicBezTo>
                    <a:pt x="45624" y="52661"/>
                    <a:pt x="45209" y="53698"/>
                    <a:pt x="45247" y="54769"/>
                  </a:cubicBezTo>
                  <a:lnTo>
                    <a:pt x="46580" y="236982"/>
                  </a:lnTo>
                  <a:cubicBezTo>
                    <a:pt x="46632" y="239154"/>
                    <a:pt x="48408" y="240888"/>
                    <a:pt x="50581" y="240887"/>
                  </a:cubicBezTo>
                  <a:lnTo>
                    <a:pt x="50581" y="240887"/>
                  </a:lnTo>
                  <a:lnTo>
                    <a:pt x="818772" y="235077"/>
                  </a:lnTo>
                  <a:cubicBezTo>
                    <a:pt x="819853" y="235067"/>
                    <a:pt x="820883" y="234620"/>
                    <a:pt x="821629" y="233839"/>
                  </a:cubicBezTo>
                  <a:cubicBezTo>
                    <a:pt x="822395" y="233089"/>
                    <a:pt x="822810" y="232052"/>
                    <a:pt x="822772" y="230981"/>
                  </a:cubicBezTo>
                  <a:lnTo>
                    <a:pt x="821344" y="48768"/>
                  </a:lnTo>
                  <a:cubicBezTo>
                    <a:pt x="821378" y="47726"/>
                    <a:pt x="820962" y="46719"/>
                    <a:pt x="820201" y="46006"/>
                  </a:cubicBezTo>
                  <a:cubicBezTo>
                    <a:pt x="819481" y="45255"/>
                    <a:pt x="818479" y="44840"/>
                    <a:pt x="817438" y="44863"/>
                  </a:cubicBezTo>
                  <a:lnTo>
                    <a:pt x="817438" y="44863"/>
                  </a:lnTo>
                  <a:lnTo>
                    <a:pt x="49152" y="50768"/>
                  </a:lnTo>
                  <a:close/>
                  <a:moveTo>
                    <a:pt x="49152" y="31718"/>
                  </a:moveTo>
                  <a:lnTo>
                    <a:pt x="49152" y="3171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accent5"/>
                </a:solidFill>
              </a:endParaRPr>
            </a:p>
          </p:txBody>
        </p:sp>
        <p:sp>
          <p:nvSpPr>
            <p:cNvPr id="23" name="Freeform: Shape 450">
              <a:extLst>
                <a:ext uri="{FF2B5EF4-FFF2-40B4-BE49-F238E27FC236}">
                  <a16:creationId xmlns:a16="http://schemas.microsoft.com/office/drawing/2014/main" id="{D20FC7D0-892D-085F-E28F-FF5A65CCBBB0}"/>
                </a:ext>
              </a:extLst>
            </p:cNvPr>
            <p:cNvSpPr/>
            <p:nvPr/>
          </p:nvSpPr>
          <p:spPr>
            <a:xfrm>
              <a:off x="9921999" y="3007519"/>
              <a:ext cx="866775" cy="285750"/>
            </a:xfrm>
            <a:custGeom>
              <a:avLst/>
              <a:gdLst>
                <a:gd name="connsiteX0" fmla="*/ 50676 w 866775"/>
                <a:gd name="connsiteY0" fmla="*/ 279464 h 285750"/>
                <a:gd name="connsiteX1" fmla="*/ 8575 w 866775"/>
                <a:gd name="connsiteY1" fmla="*/ 237649 h 285750"/>
                <a:gd name="connsiteX2" fmla="*/ 7146 w 866775"/>
                <a:gd name="connsiteY2" fmla="*/ 55436 h 285750"/>
                <a:gd name="connsiteX3" fmla="*/ 19243 w 866775"/>
                <a:gd name="connsiteY3" fmla="*/ 25622 h 285750"/>
                <a:gd name="connsiteX4" fmla="*/ 48961 w 866775"/>
                <a:gd name="connsiteY4" fmla="*/ 13049 h 285750"/>
                <a:gd name="connsiteX5" fmla="*/ 817152 w 866775"/>
                <a:gd name="connsiteY5" fmla="*/ 7144 h 285750"/>
                <a:gd name="connsiteX6" fmla="*/ 847061 w 866775"/>
                <a:gd name="connsiteY6" fmla="*/ 19241 h 285750"/>
                <a:gd name="connsiteX7" fmla="*/ 859634 w 866775"/>
                <a:gd name="connsiteY7" fmla="*/ 48959 h 285750"/>
                <a:gd name="connsiteX8" fmla="*/ 860301 w 866775"/>
                <a:gd name="connsiteY8" fmla="*/ 230981 h 285750"/>
                <a:gd name="connsiteX9" fmla="*/ 818486 w 866775"/>
                <a:gd name="connsiteY9" fmla="*/ 273463 h 285750"/>
                <a:gd name="connsiteX10" fmla="*/ 50676 w 866775"/>
                <a:gd name="connsiteY10" fmla="*/ 279464 h 285750"/>
                <a:gd name="connsiteX11" fmla="*/ 49247 w 866775"/>
                <a:gd name="connsiteY11" fmla="*/ 50864 h 285750"/>
                <a:gd name="connsiteX12" fmla="*/ 46389 w 866775"/>
                <a:gd name="connsiteY12" fmla="*/ 52007 h 285750"/>
                <a:gd name="connsiteX13" fmla="*/ 45246 w 866775"/>
                <a:gd name="connsiteY13" fmla="*/ 54864 h 285750"/>
                <a:gd name="connsiteX14" fmla="*/ 46675 w 866775"/>
                <a:gd name="connsiteY14" fmla="*/ 237077 h 285750"/>
                <a:gd name="connsiteX15" fmla="*/ 50676 w 866775"/>
                <a:gd name="connsiteY15" fmla="*/ 241078 h 285750"/>
                <a:gd name="connsiteX16" fmla="*/ 50676 w 866775"/>
                <a:gd name="connsiteY16" fmla="*/ 241078 h 285750"/>
                <a:gd name="connsiteX17" fmla="*/ 818962 w 866775"/>
                <a:gd name="connsiteY17" fmla="*/ 235172 h 285750"/>
                <a:gd name="connsiteX18" fmla="*/ 822201 w 866775"/>
                <a:gd name="connsiteY18" fmla="*/ 230981 h 285750"/>
                <a:gd name="connsiteX19" fmla="*/ 820772 w 866775"/>
                <a:gd name="connsiteY19" fmla="*/ 48863 h 285750"/>
                <a:gd name="connsiteX20" fmla="*/ 819534 w 866775"/>
                <a:gd name="connsiteY20" fmla="*/ 46006 h 285750"/>
                <a:gd name="connsiteX21" fmla="*/ 816771 w 866775"/>
                <a:gd name="connsiteY21" fmla="*/ 44863 h 285750"/>
                <a:gd name="connsiteX22" fmla="*/ 816771 w 866775"/>
                <a:gd name="connsiteY22" fmla="*/ 44863 h 285750"/>
                <a:gd name="connsiteX23" fmla="*/ 48485 w 866775"/>
                <a:gd name="connsiteY23" fmla="*/ 50768 h 285750"/>
                <a:gd name="connsiteX24" fmla="*/ 49247 w 866775"/>
                <a:gd name="connsiteY24" fmla="*/ 31814 h 285750"/>
                <a:gd name="connsiteX25" fmla="*/ 49247 w 866775"/>
                <a:gd name="connsiteY25" fmla="*/ 31814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866775" h="285750">
                  <a:moveTo>
                    <a:pt x="50676" y="279464"/>
                  </a:moveTo>
                  <a:cubicBezTo>
                    <a:pt x="27557" y="279412"/>
                    <a:pt x="8784" y="260767"/>
                    <a:pt x="8575" y="237649"/>
                  </a:cubicBezTo>
                  <a:lnTo>
                    <a:pt x="7146" y="55436"/>
                  </a:lnTo>
                  <a:cubicBezTo>
                    <a:pt x="7020" y="44278"/>
                    <a:pt x="11378" y="33537"/>
                    <a:pt x="19243" y="25622"/>
                  </a:cubicBezTo>
                  <a:cubicBezTo>
                    <a:pt x="27086" y="17651"/>
                    <a:pt x="37778" y="13127"/>
                    <a:pt x="48961" y="13049"/>
                  </a:cubicBezTo>
                  <a:lnTo>
                    <a:pt x="817152" y="7144"/>
                  </a:lnTo>
                  <a:cubicBezTo>
                    <a:pt x="828317" y="7127"/>
                    <a:pt x="839047" y="11467"/>
                    <a:pt x="847061" y="19241"/>
                  </a:cubicBezTo>
                  <a:cubicBezTo>
                    <a:pt x="855033" y="27083"/>
                    <a:pt x="859556" y="37776"/>
                    <a:pt x="859634" y="48959"/>
                  </a:cubicBezTo>
                  <a:lnTo>
                    <a:pt x="860301" y="230981"/>
                  </a:lnTo>
                  <a:cubicBezTo>
                    <a:pt x="860407" y="254227"/>
                    <a:pt x="841731" y="273201"/>
                    <a:pt x="818486" y="273463"/>
                  </a:cubicBezTo>
                  <a:lnTo>
                    <a:pt x="50676" y="279464"/>
                  </a:lnTo>
                  <a:close/>
                  <a:moveTo>
                    <a:pt x="49247" y="50864"/>
                  </a:moveTo>
                  <a:cubicBezTo>
                    <a:pt x="48184" y="50868"/>
                    <a:pt x="47162" y="51277"/>
                    <a:pt x="46389" y="52007"/>
                  </a:cubicBezTo>
                  <a:cubicBezTo>
                    <a:pt x="45675" y="52789"/>
                    <a:pt x="45269" y="53805"/>
                    <a:pt x="45246" y="54864"/>
                  </a:cubicBezTo>
                  <a:lnTo>
                    <a:pt x="46675" y="237077"/>
                  </a:lnTo>
                  <a:cubicBezTo>
                    <a:pt x="46675" y="239287"/>
                    <a:pt x="48466" y="241078"/>
                    <a:pt x="50676" y="241078"/>
                  </a:cubicBezTo>
                  <a:lnTo>
                    <a:pt x="50676" y="241078"/>
                  </a:lnTo>
                  <a:lnTo>
                    <a:pt x="818962" y="235172"/>
                  </a:lnTo>
                  <a:cubicBezTo>
                    <a:pt x="820944" y="234792"/>
                    <a:pt x="822333" y="232995"/>
                    <a:pt x="822201" y="230981"/>
                  </a:cubicBezTo>
                  <a:lnTo>
                    <a:pt x="820772" y="48863"/>
                  </a:lnTo>
                  <a:cubicBezTo>
                    <a:pt x="820785" y="47778"/>
                    <a:pt x="820335" y="46738"/>
                    <a:pt x="819534" y="46006"/>
                  </a:cubicBezTo>
                  <a:cubicBezTo>
                    <a:pt x="818821" y="45245"/>
                    <a:pt x="817814" y="44828"/>
                    <a:pt x="816771" y="44863"/>
                  </a:cubicBezTo>
                  <a:lnTo>
                    <a:pt x="816771" y="44863"/>
                  </a:lnTo>
                  <a:lnTo>
                    <a:pt x="48485" y="50768"/>
                  </a:lnTo>
                  <a:close/>
                  <a:moveTo>
                    <a:pt x="49247" y="31814"/>
                  </a:moveTo>
                  <a:lnTo>
                    <a:pt x="49247" y="3181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accent5"/>
                </a:solidFill>
              </a:endParaRPr>
            </a:p>
          </p:txBody>
        </p:sp>
        <p:sp>
          <p:nvSpPr>
            <p:cNvPr id="28" name="Freeform: Shape 451">
              <a:extLst>
                <a:ext uri="{FF2B5EF4-FFF2-40B4-BE49-F238E27FC236}">
                  <a16:creationId xmlns:a16="http://schemas.microsoft.com/office/drawing/2014/main" id="{C9A248DB-6C71-BBB9-A8C7-B8F6BDE108DE}"/>
                </a:ext>
              </a:extLst>
            </p:cNvPr>
            <p:cNvSpPr/>
            <p:nvPr/>
          </p:nvSpPr>
          <p:spPr>
            <a:xfrm>
              <a:off x="10026586" y="3122771"/>
              <a:ext cx="533400" cy="47625"/>
            </a:xfrm>
            <a:custGeom>
              <a:avLst/>
              <a:gdLst>
                <a:gd name="connsiteX0" fmla="*/ 26194 w 533400"/>
                <a:gd name="connsiteY0" fmla="*/ 49054 h 47625"/>
                <a:gd name="connsiteX1" fmla="*/ 7144 w 533400"/>
                <a:gd name="connsiteY1" fmla="*/ 30004 h 47625"/>
                <a:gd name="connsiteX2" fmla="*/ 26194 w 533400"/>
                <a:gd name="connsiteY2" fmla="*/ 10954 h 47625"/>
                <a:gd name="connsiteX3" fmla="*/ 511969 w 533400"/>
                <a:gd name="connsiteY3" fmla="*/ 7144 h 47625"/>
                <a:gd name="connsiteX4" fmla="*/ 531019 w 533400"/>
                <a:gd name="connsiteY4" fmla="*/ 26194 h 47625"/>
                <a:gd name="connsiteX5" fmla="*/ 511969 w 533400"/>
                <a:gd name="connsiteY5" fmla="*/ 45244 h 47625"/>
                <a:gd name="connsiteX6" fmla="*/ 26194 w 533400"/>
                <a:gd name="connsiteY6" fmla="*/ 49054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33400" h="47625">
                  <a:moveTo>
                    <a:pt x="26194" y="49054"/>
                  </a:moveTo>
                  <a:cubicBezTo>
                    <a:pt x="15673" y="49054"/>
                    <a:pt x="7144" y="40525"/>
                    <a:pt x="7144" y="30004"/>
                  </a:cubicBezTo>
                  <a:cubicBezTo>
                    <a:pt x="7144" y="19483"/>
                    <a:pt x="15673" y="10954"/>
                    <a:pt x="26194" y="10954"/>
                  </a:cubicBezTo>
                  <a:lnTo>
                    <a:pt x="511969" y="7144"/>
                  </a:lnTo>
                  <a:cubicBezTo>
                    <a:pt x="522490" y="7144"/>
                    <a:pt x="531019" y="15673"/>
                    <a:pt x="531019" y="26194"/>
                  </a:cubicBezTo>
                  <a:cubicBezTo>
                    <a:pt x="531019" y="36715"/>
                    <a:pt x="522490" y="45244"/>
                    <a:pt x="511969" y="45244"/>
                  </a:cubicBezTo>
                  <a:lnTo>
                    <a:pt x="26194" y="4905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accent5"/>
                </a:solidFill>
              </a:endParaRPr>
            </a:p>
          </p:txBody>
        </p:sp>
        <p:sp>
          <p:nvSpPr>
            <p:cNvPr id="29" name="Freeform: Shape 452">
              <a:extLst>
                <a:ext uri="{FF2B5EF4-FFF2-40B4-BE49-F238E27FC236}">
                  <a16:creationId xmlns:a16="http://schemas.microsoft.com/office/drawing/2014/main" id="{2AC8E4B1-2E35-00ED-EBA6-FAF941E42952}"/>
                </a:ext>
              </a:extLst>
            </p:cNvPr>
            <p:cNvSpPr/>
            <p:nvPr/>
          </p:nvSpPr>
          <p:spPr>
            <a:xfrm>
              <a:off x="10588752" y="3121914"/>
              <a:ext cx="76200" cy="47625"/>
            </a:xfrm>
            <a:custGeom>
              <a:avLst/>
              <a:gdLst>
                <a:gd name="connsiteX0" fmla="*/ 26194 w 76200"/>
                <a:gd name="connsiteY0" fmla="*/ 45244 h 47625"/>
                <a:gd name="connsiteX1" fmla="*/ 7144 w 76200"/>
                <a:gd name="connsiteY1" fmla="*/ 26194 h 47625"/>
                <a:gd name="connsiteX2" fmla="*/ 26194 w 76200"/>
                <a:gd name="connsiteY2" fmla="*/ 7144 h 47625"/>
                <a:gd name="connsiteX3" fmla="*/ 52102 w 76200"/>
                <a:gd name="connsiteY3" fmla="*/ 7144 h 47625"/>
                <a:gd name="connsiteX4" fmla="*/ 52102 w 76200"/>
                <a:gd name="connsiteY4" fmla="*/ 7144 h 47625"/>
                <a:gd name="connsiteX5" fmla="*/ 71152 w 76200"/>
                <a:gd name="connsiteY5" fmla="*/ 26194 h 47625"/>
                <a:gd name="connsiteX6" fmla="*/ 52102 w 76200"/>
                <a:gd name="connsiteY6" fmla="*/ 45244 h 47625"/>
                <a:gd name="connsiteX7" fmla="*/ 26098 w 76200"/>
                <a:gd name="connsiteY7" fmla="*/ 45244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6200" h="47625">
                  <a:moveTo>
                    <a:pt x="26194" y="45244"/>
                  </a:moveTo>
                  <a:cubicBezTo>
                    <a:pt x="15673" y="45244"/>
                    <a:pt x="7144" y="36715"/>
                    <a:pt x="7144" y="26194"/>
                  </a:cubicBezTo>
                  <a:cubicBezTo>
                    <a:pt x="7144" y="15673"/>
                    <a:pt x="15673" y="7144"/>
                    <a:pt x="26194" y="7144"/>
                  </a:cubicBezTo>
                  <a:lnTo>
                    <a:pt x="52102" y="7144"/>
                  </a:lnTo>
                  <a:lnTo>
                    <a:pt x="52102" y="7144"/>
                  </a:lnTo>
                  <a:cubicBezTo>
                    <a:pt x="62623" y="7144"/>
                    <a:pt x="71152" y="15673"/>
                    <a:pt x="71152" y="26194"/>
                  </a:cubicBezTo>
                  <a:cubicBezTo>
                    <a:pt x="71152" y="36715"/>
                    <a:pt x="62623" y="45244"/>
                    <a:pt x="52102" y="45244"/>
                  </a:cubicBezTo>
                  <a:lnTo>
                    <a:pt x="26098" y="4524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accent5"/>
                </a:solidFill>
              </a:endParaRPr>
            </a:p>
          </p:txBody>
        </p:sp>
        <p:sp>
          <p:nvSpPr>
            <p:cNvPr id="32" name="Freeform: Shape 453">
              <a:extLst>
                <a:ext uri="{FF2B5EF4-FFF2-40B4-BE49-F238E27FC236}">
                  <a16:creationId xmlns:a16="http://schemas.microsoft.com/office/drawing/2014/main" id="{ED8FEB80-C56F-684E-ED3F-C0131CB83540}"/>
                </a:ext>
              </a:extLst>
            </p:cNvPr>
            <p:cNvSpPr/>
            <p:nvPr/>
          </p:nvSpPr>
          <p:spPr>
            <a:xfrm>
              <a:off x="10028968" y="3430238"/>
              <a:ext cx="533400" cy="47625"/>
            </a:xfrm>
            <a:custGeom>
              <a:avLst/>
              <a:gdLst>
                <a:gd name="connsiteX0" fmla="*/ 26194 w 533400"/>
                <a:gd name="connsiteY0" fmla="*/ 48958 h 47625"/>
                <a:gd name="connsiteX1" fmla="*/ 7144 w 533400"/>
                <a:gd name="connsiteY1" fmla="*/ 29908 h 47625"/>
                <a:gd name="connsiteX2" fmla="*/ 26194 w 533400"/>
                <a:gd name="connsiteY2" fmla="*/ 10858 h 47625"/>
                <a:gd name="connsiteX3" fmla="*/ 511969 w 533400"/>
                <a:gd name="connsiteY3" fmla="*/ 7144 h 47625"/>
                <a:gd name="connsiteX4" fmla="*/ 511969 w 533400"/>
                <a:gd name="connsiteY4" fmla="*/ 7144 h 47625"/>
                <a:gd name="connsiteX5" fmla="*/ 531019 w 533400"/>
                <a:gd name="connsiteY5" fmla="*/ 26194 h 47625"/>
                <a:gd name="connsiteX6" fmla="*/ 511969 w 533400"/>
                <a:gd name="connsiteY6" fmla="*/ 45244 h 47625"/>
                <a:gd name="connsiteX7" fmla="*/ 26194 w 533400"/>
                <a:gd name="connsiteY7" fmla="*/ 48958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33400" h="47625">
                  <a:moveTo>
                    <a:pt x="26194" y="48958"/>
                  </a:moveTo>
                  <a:cubicBezTo>
                    <a:pt x="15673" y="48958"/>
                    <a:pt x="7144" y="40430"/>
                    <a:pt x="7144" y="29908"/>
                  </a:cubicBezTo>
                  <a:cubicBezTo>
                    <a:pt x="7144" y="19387"/>
                    <a:pt x="15673" y="10858"/>
                    <a:pt x="26194" y="10858"/>
                  </a:cubicBezTo>
                  <a:lnTo>
                    <a:pt x="511969" y="7144"/>
                  </a:lnTo>
                  <a:lnTo>
                    <a:pt x="511969" y="7144"/>
                  </a:lnTo>
                  <a:cubicBezTo>
                    <a:pt x="522490" y="7144"/>
                    <a:pt x="531019" y="15673"/>
                    <a:pt x="531019" y="26194"/>
                  </a:cubicBezTo>
                  <a:cubicBezTo>
                    <a:pt x="531019" y="36715"/>
                    <a:pt x="522490" y="45244"/>
                    <a:pt x="511969" y="45244"/>
                  </a:cubicBezTo>
                  <a:lnTo>
                    <a:pt x="26194" y="489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accent5"/>
                </a:solidFill>
              </a:endParaRPr>
            </a:p>
          </p:txBody>
        </p:sp>
        <p:sp>
          <p:nvSpPr>
            <p:cNvPr id="33" name="Freeform: Shape 454">
              <a:extLst>
                <a:ext uri="{FF2B5EF4-FFF2-40B4-BE49-F238E27FC236}">
                  <a16:creationId xmlns:a16="http://schemas.microsoft.com/office/drawing/2014/main" id="{0837D4FF-717B-8E53-1131-106C955904CE}"/>
                </a:ext>
              </a:extLst>
            </p:cNvPr>
            <p:cNvSpPr/>
            <p:nvPr/>
          </p:nvSpPr>
          <p:spPr>
            <a:xfrm>
              <a:off x="10591133" y="3429667"/>
              <a:ext cx="76200" cy="47625"/>
            </a:xfrm>
            <a:custGeom>
              <a:avLst/>
              <a:gdLst>
                <a:gd name="connsiteX0" fmla="*/ 26194 w 76200"/>
                <a:gd name="connsiteY0" fmla="*/ 45244 h 47625"/>
                <a:gd name="connsiteX1" fmla="*/ 7144 w 76200"/>
                <a:gd name="connsiteY1" fmla="*/ 26194 h 47625"/>
                <a:gd name="connsiteX2" fmla="*/ 26194 w 76200"/>
                <a:gd name="connsiteY2" fmla="*/ 7144 h 47625"/>
                <a:gd name="connsiteX3" fmla="*/ 52102 w 76200"/>
                <a:gd name="connsiteY3" fmla="*/ 7144 h 47625"/>
                <a:gd name="connsiteX4" fmla="*/ 52102 w 76200"/>
                <a:gd name="connsiteY4" fmla="*/ 7144 h 47625"/>
                <a:gd name="connsiteX5" fmla="*/ 71152 w 76200"/>
                <a:gd name="connsiteY5" fmla="*/ 26194 h 47625"/>
                <a:gd name="connsiteX6" fmla="*/ 52102 w 76200"/>
                <a:gd name="connsiteY6" fmla="*/ 45244 h 47625"/>
                <a:gd name="connsiteX7" fmla="*/ 26098 w 76200"/>
                <a:gd name="connsiteY7" fmla="*/ 45244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6200" h="47625">
                  <a:moveTo>
                    <a:pt x="26194" y="45244"/>
                  </a:moveTo>
                  <a:cubicBezTo>
                    <a:pt x="15673" y="45244"/>
                    <a:pt x="7144" y="36715"/>
                    <a:pt x="7144" y="26194"/>
                  </a:cubicBezTo>
                  <a:cubicBezTo>
                    <a:pt x="7144" y="15673"/>
                    <a:pt x="15673" y="7144"/>
                    <a:pt x="26194" y="7144"/>
                  </a:cubicBezTo>
                  <a:lnTo>
                    <a:pt x="52102" y="7144"/>
                  </a:lnTo>
                  <a:lnTo>
                    <a:pt x="52102" y="7144"/>
                  </a:lnTo>
                  <a:cubicBezTo>
                    <a:pt x="62623" y="7144"/>
                    <a:pt x="71152" y="15673"/>
                    <a:pt x="71152" y="26194"/>
                  </a:cubicBezTo>
                  <a:cubicBezTo>
                    <a:pt x="71152" y="36715"/>
                    <a:pt x="62623" y="45244"/>
                    <a:pt x="52102" y="45244"/>
                  </a:cubicBezTo>
                  <a:lnTo>
                    <a:pt x="26098" y="4524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accent5"/>
                </a:solidFill>
              </a:endParaRPr>
            </a:p>
          </p:txBody>
        </p:sp>
        <p:sp>
          <p:nvSpPr>
            <p:cNvPr id="34" name="Freeform: Shape 455">
              <a:extLst>
                <a:ext uri="{FF2B5EF4-FFF2-40B4-BE49-F238E27FC236}">
                  <a16:creationId xmlns:a16="http://schemas.microsoft.com/office/drawing/2014/main" id="{C9064E4A-276A-8E9A-1C28-BD2BDC346736}"/>
                </a:ext>
              </a:extLst>
            </p:cNvPr>
            <p:cNvSpPr/>
            <p:nvPr/>
          </p:nvSpPr>
          <p:spPr>
            <a:xfrm>
              <a:off x="9968838" y="2790920"/>
              <a:ext cx="762000" cy="266700"/>
            </a:xfrm>
            <a:custGeom>
              <a:avLst/>
              <a:gdLst>
                <a:gd name="connsiteX0" fmla="*/ 26221 w 762000"/>
                <a:gd name="connsiteY0" fmla="*/ 266605 h 266700"/>
                <a:gd name="connsiteX1" fmla="*/ 19173 w 762000"/>
                <a:gd name="connsiteY1" fmla="*/ 265271 h 266700"/>
                <a:gd name="connsiteX2" fmla="*/ 8492 w 762000"/>
                <a:gd name="connsiteY2" fmla="*/ 240538 h 266700"/>
                <a:gd name="connsiteX3" fmla="*/ 8505 w 762000"/>
                <a:gd name="connsiteY3" fmla="*/ 240506 h 266700"/>
                <a:gd name="connsiteX4" fmla="*/ 88991 w 762000"/>
                <a:gd name="connsiteY4" fmla="*/ 39624 h 266700"/>
                <a:gd name="connsiteX5" fmla="*/ 130806 w 762000"/>
                <a:gd name="connsiteY5" fmla="*/ 11049 h 266700"/>
                <a:gd name="connsiteX6" fmla="*/ 631059 w 762000"/>
                <a:gd name="connsiteY6" fmla="*/ 7144 h 266700"/>
                <a:gd name="connsiteX7" fmla="*/ 631059 w 762000"/>
                <a:gd name="connsiteY7" fmla="*/ 7144 h 266700"/>
                <a:gd name="connsiteX8" fmla="*/ 672683 w 762000"/>
                <a:gd name="connsiteY8" fmla="*/ 34862 h 266700"/>
                <a:gd name="connsiteX9" fmla="*/ 757455 w 762000"/>
                <a:gd name="connsiteY9" fmla="*/ 234887 h 266700"/>
                <a:gd name="connsiteX10" fmla="*/ 746392 w 762000"/>
                <a:gd name="connsiteY10" fmla="*/ 259451 h 266700"/>
                <a:gd name="connsiteX11" fmla="*/ 722404 w 762000"/>
                <a:gd name="connsiteY11" fmla="*/ 249746 h 266700"/>
                <a:gd name="connsiteX12" fmla="*/ 637631 w 762000"/>
                <a:gd name="connsiteY12" fmla="*/ 49721 h 266700"/>
                <a:gd name="connsiteX13" fmla="*/ 631059 w 762000"/>
                <a:gd name="connsiteY13" fmla="*/ 45339 h 266700"/>
                <a:gd name="connsiteX14" fmla="*/ 631059 w 762000"/>
                <a:gd name="connsiteY14" fmla="*/ 45339 h 266700"/>
                <a:gd name="connsiteX15" fmla="*/ 130710 w 762000"/>
                <a:gd name="connsiteY15" fmla="*/ 49244 h 266700"/>
                <a:gd name="connsiteX16" fmla="*/ 124043 w 762000"/>
                <a:gd name="connsiteY16" fmla="*/ 53816 h 266700"/>
                <a:gd name="connsiteX17" fmla="*/ 43938 w 762000"/>
                <a:gd name="connsiteY17" fmla="*/ 254603 h 266700"/>
                <a:gd name="connsiteX18" fmla="*/ 26221 w 762000"/>
                <a:gd name="connsiteY18" fmla="*/ 266605 h 266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762000" h="266700">
                  <a:moveTo>
                    <a:pt x="26221" y="266605"/>
                  </a:moveTo>
                  <a:cubicBezTo>
                    <a:pt x="23811" y="266587"/>
                    <a:pt x="21423" y="266135"/>
                    <a:pt x="19173" y="265271"/>
                  </a:cubicBezTo>
                  <a:cubicBezTo>
                    <a:pt x="9393" y="261391"/>
                    <a:pt x="4611" y="250318"/>
                    <a:pt x="8492" y="240538"/>
                  </a:cubicBezTo>
                  <a:cubicBezTo>
                    <a:pt x="8496" y="240528"/>
                    <a:pt x="8500" y="240517"/>
                    <a:pt x="8505" y="240506"/>
                  </a:cubicBezTo>
                  <a:lnTo>
                    <a:pt x="88991" y="39624"/>
                  </a:lnTo>
                  <a:cubicBezTo>
                    <a:pt x="95814" y="22476"/>
                    <a:pt x="112351" y="11176"/>
                    <a:pt x="130806" y="11049"/>
                  </a:cubicBezTo>
                  <a:lnTo>
                    <a:pt x="631059" y="7144"/>
                  </a:lnTo>
                  <a:lnTo>
                    <a:pt x="631059" y="7144"/>
                  </a:lnTo>
                  <a:cubicBezTo>
                    <a:pt x="649266" y="7102"/>
                    <a:pt x="665701" y="18046"/>
                    <a:pt x="672683" y="34862"/>
                  </a:cubicBezTo>
                  <a:lnTo>
                    <a:pt x="757455" y="234887"/>
                  </a:lnTo>
                  <a:cubicBezTo>
                    <a:pt x="761183" y="244725"/>
                    <a:pt x="756230" y="255723"/>
                    <a:pt x="746392" y="259451"/>
                  </a:cubicBezTo>
                  <a:cubicBezTo>
                    <a:pt x="737088" y="262976"/>
                    <a:pt x="726638" y="258748"/>
                    <a:pt x="722404" y="249746"/>
                  </a:cubicBezTo>
                  <a:lnTo>
                    <a:pt x="637631" y="49721"/>
                  </a:lnTo>
                  <a:cubicBezTo>
                    <a:pt x="636520" y="47072"/>
                    <a:pt x="633931" y="45346"/>
                    <a:pt x="631059" y="45339"/>
                  </a:cubicBezTo>
                  <a:lnTo>
                    <a:pt x="631059" y="45339"/>
                  </a:lnTo>
                  <a:lnTo>
                    <a:pt x="130710" y="49244"/>
                  </a:lnTo>
                  <a:cubicBezTo>
                    <a:pt x="127748" y="49216"/>
                    <a:pt x="125084" y="51043"/>
                    <a:pt x="124043" y="53816"/>
                  </a:cubicBezTo>
                  <a:lnTo>
                    <a:pt x="43938" y="254603"/>
                  </a:lnTo>
                  <a:cubicBezTo>
                    <a:pt x="41049" y="261856"/>
                    <a:pt x="34028" y="266612"/>
                    <a:pt x="26221" y="2666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accent5"/>
                </a:solidFill>
              </a:endParaRPr>
            </a:p>
          </p:txBody>
        </p:sp>
      </p:grpSp>
      <p:pic>
        <p:nvPicPr>
          <p:cNvPr id="55" name="Graphic 54" descr="Processor outline">
            <a:extLst>
              <a:ext uri="{FF2B5EF4-FFF2-40B4-BE49-F238E27FC236}">
                <a16:creationId xmlns:a16="http://schemas.microsoft.com/office/drawing/2014/main" id="{A5A77355-2B71-E307-5BD6-51304E6C597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439623" y="2204153"/>
            <a:ext cx="655607" cy="65560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2" name="Graphic 11" descr="Cell Tower with solid fill">
            <a:extLst>
              <a:ext uri="{FF2B5EF4-FFF2-40B4-BE49-F238E27FC236}">
                <a16:creationId xmlns:a16="http://schemas.microsoft.com/office/drawing/2014/main" id="{1FAC1E93-3D0D-1422-473E-E598475FF9A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461318" y="2184274"/>
            <a:ext cx="1029650" cy="102965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AC59DDE9-493A-2C87-CE79-239FCFD65C4B}"/>
              </a:ext>
            </a:extLst>
          </p:cNvPr>
          <p:cNvSpPr txBox="1"/>
          <p:nvPr/>
        </p:nvSpPr>
        <p:spPr>
          <a:xfrm>
            <a:off x="2025353" y="2298819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 err="1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81CD219-0227-A508-F6FB-5659A0580ABF}"/>
              </a:ext>
            </a:extLst>
          </p:cNvPr>
          <p:cNvSpPr txBox="1"/>
          <p:nvPr/>
        </p:nvSpPr>
        <p:spPr>
          <a:xfrm>
            <a:off x="3649054" y="2948299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 err="1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FBA84FC3-E98C-3F13-C652-CDDA177E08A6}"/>
              </a:ext>
            </a:extLst>
          </p:cNvPr>
          <p:cNvSpPr/>
          <p:nvPr/>
        </p:nvSpPr>
        <p:spPr>
          <a:xfrm>
            <a:off x="4877137" y="2061364"/>
            <a:ext cx="2486610" cy="688676"/>
          </a:xfrm>
          <a:prstGeom prst="round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rgbClr val="F9F9F9"/>
              </a:gs>
            </a:gsLst>
            <a:lin ang="0" scaled="0"/>
            <a:tileRect/>
          </a:gradFill>
          <a:ln w="25400"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74000">
                  <a:schemeClr val="accent4">
                    <a:lumMod val="45000"/>
                    <a:lumOff val="55000"/>
                  </a:schemeClr>
                </a:gs>
                <a:gs pos="83000">
                  <a:schemeClr val="accent4">
                    <a:lumMod val="45000"/>
                    <a:lumOff val="55000"/>
                  </a:schemeClr>
                </a:gs>
                <a:gs pos="100000">
                  <a:schemeClr val="accent4">
                    <a:lumMod val="30000"/>
                    <a:lumOff val="70000"/>
                  </a:schemeClr>
                </a:gs>
              </a:gsLst>
              <a:lin ang="5400000" scaled="1"/>
              <a:tileRect/>
            </a:gra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9144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r>
              <a:rPr lang="en-US" sz="1400" b="1" dirty="0">
                <a:solidFill>
                  <a:srgbClr val="404040"/>
                </a:solidFill>
                <a:latin typeface="Arial"/>
              </a:rPr>
              <a:t>Standard Test Infrastructure</a:t>
            </a:r>
          </a:p>
          <a:p>
            <a:pPr algn="ctr" defTabSz="914400"/>
            <a:r>
              <a:rPr lang="en-US" sz="1400" b="1" dirty="0">
                <a:solidFill>
                  <a:srgbClr val="404040"/>
                </a:solidFill>
                <a:latin typeface="Arial"/>
              </a:rPr>
              <a:t>(Tools, APIs, Framework)  </a:t>
            </a:r>
          </a:p>
        </p:txBody>
      </p:sp>
      <p:sp>
        <p:nvSpPr>
          <p:cNvPr id="36" name="Left Arrow 23">
            <a:extLst>
              <a:ext uri="{FF2B5EF4-FFF2-40B4-BE49-F238E27FC236}">
                <a16:creationId xmlns:a16="http://schemas.microsoft.com/office/drawing/2014/main" id="{9C315204-05D1-2775-B448-93914448FDA7}"/>
              </a:ext>
            </a:extLst>
          </p:cNvPr>
          <p:cNvSpPr/>
          <p:nvPr/>
        </p:nvSpPr>
        <p:spPr>
          <a:xfrm rot="16200000">
            <a:off x="4518695" y="4305725"/>
            <a:ext cx="524786" cy="327804"/>
          </a:xfrm>
          <a:prstGeom prst="lef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5"/>
              </a:solidFill>
            </a:endParaRPr>
          </a:p>
        </p:txBody>
      </p:sp>
      <p:sp>
        <p:nvSpPr>
          <p:cNvPr id="37" name="Left Arrow 23">
            <a:extLst>
              <a:ext uri="{FF2B5EF4-FFF2-40B4-BE49-F238E27FC236}">
                <a16:creationId xmlns:a16="http://schemas.microsoft.com/office/drawing/2014/main" id="{04C74F35-2938-5203-57D7-25FCFA21DCDD}"/>
              </a:ext>
            </a:extLst>
          </p:cNvPr>
          <p:cNvSpPr/>
          <p:nvPr/>
        </p:nvSpPr>
        <p:spPr>
          <a:xfrm rot="16200000">
            <a:off x="5831094" y="4339715"/>
            <a:ext cx="524786" cy="327804"/>
          </a:xfrm>
          <a:prstGeom prst="leftArrow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5"/>
              </a:solidFill>
            </a:endParaRPr>
          </a:p>
        </p:txBody>
      </p:sp>
      <p:sp>
        <p:nvSpPr>
          <p:cNvPr id="38" name="Left Arrow 23">
            <a:extLst>
              <a:ext uri="{FF2B5EF4-FFF2-40B4-BE49-F238E27FC236}">
                <a16:creationId xmlns:a16="http://schemas.microsoft.com/office/drawing/2014/main" id="{EB2F4C1E-5689-F6B1-4B98-34A0E543AC2E}"/>
              </a:ext>
            </a:extLst>
          </p:cNvPr>
          <p:cNvSpPr/>
          <p:nvPr/>
        </p:nvSpPr>
        <p:spPr>
          <a:xfrm rot="16200000">
            <a:off x="7143491" y="4339715"/>
            <a:ext cx="524786" cy="327804"/>
          </a:xfrm>
          <a:prstGeom prst="leftArrow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5"/>
              </a:solidFill>
            </a:endParaRPr>
          </a:p>
        </p:txBody>
      </p:sp>
      <p:sp>
        <p:nvSpPr>
          <p:cNvPr id="39" name="Rounded Rectangle 38">
            <a:extLst>
              <a:ext uri="{FF2B5EF4-FFF2-40B4-BE49-F238E27FC236}">
                <a16:creationId xmlns:a16="http://schemas.microsoft.com/office/drawing/2014/main" id="{991964E5-996D-4C37-4EDF-1387494F6CB1}"/>
              </a:ext>
            </a:extLst>
          </p:cNvPr>
          <p:cNvSpPr/>
          <p:nvPr/>
        </p:nvSpPr>
        <p:spPr>
          <a:xfrm>
            <a:off x="4008874" y="4766010"/>
            <a:ext cx="1216625" cy="688676"/>
          </a:xfrm>
          <a:prstGeom prst="round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rgbClr val="F9F9F9"/>
              </a:gs>
            </a:gsLst>
            <a:lin ang="0" scaled="0"/>
            <a:tileRect/>
          </a:gradFill>
          <a:ln w="25400"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74000">
                  <a:schemeClr val="accent4">
                    <a:lumMod val="45000"/>
                    <a:lumOff val="55000"/>
                  </a:schemeClr>
                </a:gs>
                <a:gs pos="83000">
                  <a:schemeClr val="accent4">
                    <a:lumMod val="45000"/>
                    <a:lumOff val="55000"/>
                  </a:schemeClr>
                </a:gs>
                <a:gs pos="100000">
                  <a:schemeClr val="accent4">
                    <a:lumMod val="30000"/>
                    <a:lumOff val="70000"/>
                  </a:schemeClr>
                </a:gs>
              </a:gsLst>
              <a:lin ang="5400000" scaled="1"/>
              <a:tileRect/>
            </a:gra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9144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r>
              <a:rPr lang="en-US" sz="1200" b="1">
                <a:solidFill>
                  <a:srgbClr val="404040"/>
                </a:solidFill>
                <a:latin typeface="Arial"/>
              </a:rPr>
              <a:t>Non-Compliant</a:t>
            </a:r>
          </a:p>
          <a:p>
            <a:pPr algn="ctr" defTabSz="914400"/>
            <a:r>
              <a:rPr lang="en-US" sz="1200" b="1">
                <a:solidFill>
                  <a:srgbClr val="404040"/>
                </a:solidFill>
                <a:latin typeface="Arial"/>
              </a:rPr>
              <a:t>Products</a:t>
            </a:r>
          </a:p>
        </p:txBody>
      </p:sp>
      <p:sp>
        <p:nvSpPr>
          <p:cNvPr id="40" name="Rounded Rectangle 39">
            <a:extLst>
              <a:ext uri="{FF2B5EF4-FFF2-40B4-BE49-F238E27FC236}">
                <a16:creationId xmlns:a16="http://schemas.microsoft.com/office/drawing/2014/main" id="{E136B735-5594-1151-700C-5996C7D6115E}"/>
              </a:ext>
            </a:extLst>
          </p:cNvPr>
          <p:cNvSpPr/>
          <p:nvPr/>
        </p:nvSpPr>
        <p:spPr>
          <a:xfrm>
            <a:off x="5485174" y="4781789"/>
            <a:ext cx="1216625" cy="688676"/>
          </a:xfrm>
          <a:prstGeom prst="round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rgbClr val="F9F9F9"/>
              </a:gs>
            </a:gsLst>
            <a:lin ang="0" scaled="0"/>
            <a:tileRect/>
          </a:gradFill>
          <a:ln w="25400"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74000">
                  <a:schemeClr val="accent4">
                    <a:lumMod val="45000"/>
                    <a:lumOff val="55000"/>
                  </a:schemeClr>
                </a:gs>
                <a:gs pos="83000">
                  <a:schemeClr val="accent4">
                    <a:lumMod val="45000"/>
                    <a:lumOff val="55000"/>
                  </a:schemeClr>
                </a:gs>
                <a:gs pos="100000">
                  <a:schemeClr val="accent4">
                    <a:lumMod val="30000"/>
                    <a:lumOff val="70000"/>
                  </a:schemeClr>
                </a:gs>
              </a:gsLst>
              <a:lin ang="5400000" scaled="1"/>
              <a:tileRect/>
            </a:gra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9144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r>
              <a:rPr lang="en-US" sz="1200" b="1">
                <a:solidFill>
                  <a:srgbClr val="404040"/>
                </a:solidFill>
                <a:latin typeface="Arial"/>
              </a:rPr>
              <a:t>Compliant</a:t>
            </a:r>
          </a:p>
          <a:p>
            <a:pPr algn="ctr" defTabSz="914400"/>
            <a:r>
              <a:rPr lang="en-US" sz="1200" b="1">
                <a:solidFill>
                  <a:srgbClr val="404040"/>
                </a:solidFill>
                <a:latin typeface="Arial"/>
              </a:rPr>
              <a:t>Products</a:t>
            </a:r>
          </a:p>
        </p:txBody>
      </p:sp>
      <p:sp>
        <p:nvSpPr>
          <p:cNvPr id="41" name="Rounded Rectangle 40">
            <a:extLst>
              <a:ext uri="{FF2B5EF4-FFF2-40B4-BE49-F238E27FC236}">
                <a16:creationId xmlns:a16="http://schemas.microsoft.com/office/drawing/2014/main" id="{67B31568-830D-E433-1DA1-0973EC443895}"/>
              </a:ext>
            </a:extLst>
          </p:cNvPr>
          <p:cNvSpPr/>
          <p:nvPr/>
        </p:nvSpPr>
        <p:spPr>
          <a:xfrm>
            <a:off x="6961474" y="4766010"/>
            <a:ext cx="1216625" cy="688676"/>
          </a:xfrm>
          <a:prstGeom prst="round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rgbClr val="F9F9F9"/>
              </a:gs>
            </a:gsLst>
            <a:lin ang="0" scaled="0"/>
            <a:tileRect/>
          </a:gradFill>
          <a:ln w="25400"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74000">
                  <a:schemeClr val="accent4">
                    <a:lumMod val="45000"/>
                    <a:lumOff val="55000"/>
                  </a:schemeClr>
                </a:gs>
                <a:gs pos="83000">
                  <a:schemeClr val="accent4">
                    <a:lumMod val="45000"/>
                    <a:lumOff val="55000"/>
                  </a:schemeClr>
                </a:gs>
                <a:gs pos="100000">
                  <a:schemeClr val="accent4">
                    <a:lumMod val="30000"/>
                    <a:lumOff val="70000"/>
                  </a:schemeClr>
                </a:gs>
              </a:gsLst>
              <a:lin ang="5400000" scaled="1"/>
              <a:tileRect/>
            </a:gra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9144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r>
              <a:rPr lang="en-US" sz="1200" b="1">
                <a:solidFill>
                  <a:srgbClr val="404040"/>
                </a:solidFill>
                <a:latin typeface="Arial"/>
              </a:rPr>
              <a:t>Differentiated</a:t>
            </a:r>
          </a:p>
          <a:p>
            <a:pPr algn="ctr" defTabSz="914400"/>
            <a:r>
              <a:rPr lang="en-US" sz="1200" b="1">
                <a:solidFill>
                  <a:srgbClr val="404040"/>
                </a:solidFill>
                <a:latin typeface="Arial"/>
              </a:rPr>
              <a:t>Product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9C50F66-16FA-1E35-CD80-62AFBBEA9A99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43450" r="39529" b="31948"/>
          <a:stretch/>
        </p:blipFill>
        <p:spPr>
          <a:xfrm>
            <a:off x="5311892" y="3401958"/>
            <a:ext cx="1563187" cy="398227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087C5427-CDE7-53E5-F934-36A20CA2B31C}"/>
              </a:ext>
            </a:extLst>
          </p:cNvPr>
          <p:cNvSpPr txBox="1"/>
          <p:nvPr/>
        </p:nvSpPr>
        <p:spPr>
          <a:xfrm>
            <a:off x="4751733" y="1305472"/>
            <a:ext cx="2683504" cy="5807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400" b="1" dirty="0">
                <a:solidFill>
                  <a:srgbClr val="404040"/>
                </a:solidFill>
                <a:latin typeface="Arial"/>
              </a:rPr>
              <a:t>KENG</a:t>
            </a:r>
          </a:p>
          <a:p>
            <a:pPr algn="ctr"/>
            <a:r>
              <a:rPr lang="en-US" sz="1400" b="1" dirty="0">
                <a:solidFill>
                  <a:srgbClr val="404040"/>
                </a:solidFill>
                <a:latin typeface="Arial"/>
              </a:rPr>
              <a:t>ONDATRA, Feature Profiles, KNE and HW bindings</a:t>
            </a:r>
          </a:p>
        </p:txBody>
      </p:sp>
      <p:pic>
        <p:nvPicPr>
          <p:cNvPr id="1026" name="Picture 2" descr="Google logo - Wikipedia">
            <a:extLst>
              <a:ext uri="{FF2B5EF4-FFF2-40B4-BE49-F238E27FC236}">
                <a16:creationId xmlns:a16="http://schemas.microsoft.com/office/drawing/2014/main" id="{7F2ACA8C-AD5D-C493-313C-24E22B0820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5701" y="4347902"/>
            <a:ext cx="1514087" cy="5099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Cisco - Wikipedia">
            <a:extLst>
              <a:ext uri="{FF2B5EF4-FFF2-40B4-BE49-F238E27FC236}">
                <a16:creationId xmlns:a16="http://schemas.microsoft.com/office/drawing/2014/main" id="{75600B2A-1CD7-B8E7-4E8F-F860B2FD70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76594" y="4201161"/>
            <a:ext cx="779862" cy="4113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>
            <a:extLst>
              <a:ext uri="{FF2B5EF4-FFF2-40B4-BE49-F238E27FC236}">
                <a16:creationId xmlns:a16="http://schemas.microsoft.com/office/drawing/2014/main" id="{26DE4F9E-106F-505C-FF97-725D187AAE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29917" y="4330551"/>
            <a:ext cx="980753" cy="2308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Arista">
            <a:extLst>
              <a:ext uri="{FF2B5EF4-FFF2-40B4-BE49-F238E27FC236}">
                <a16:creationId xmlns:a16="http://schemas.microsoft.com/office/drawing/2014/main" id="{A8E8ADB3-6134-D97C-B84E-1C38E773ABD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47" t="33887" r="14411" b="32008"/>
          <a:stretch/>
        </p:blipFill>
        <p:spPr bwMode="auto">
          <a:xfrm>
            <a:off x="9113291" y="4718808"/>
            <a:ext cx="1216626" cy="2828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>
            <a:extLst>
              <a:ext uri="{FF2B5EF4-FFF2-40B4-BE49-F238E27FC236}">
                <a16:creationId xmlns:a16="http://schemas.microsoft.com/office/drawing/2014/main" id="{CD7CEA47-6691-7036-F9C9-86329BB523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9623" y="4732812"/>
            <a:ext cx="993551" cy="270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ound Diagonal Corner Rectangle 14">
            <a:extLst>
              <a:ext uri="{FF2B5EF4-FFF2-40B4-BE49-F238E27FC236}">
                <a16:creationId xmlns:a16="http://schemas.microsoft.com/office/drawing/2014/main" id="{AD77EB17-15BD-0E1A-DC31-731B034671AA}"/>
              </a:ext>
            </a:extLst>
          </p:cNvPr>
          <p:cNvSpPr/>
          <p:nvPr/>
        </p:nvSpPr>
        <p:spPr>
          <a:xfrm>
            <a:off x="8849728" y="4021045"/>
            <a:ext cx="3076280" cy="1042618"/>
          </a:xfrm>
          <a:prstGeom prst="round2DiagRect">
            <a:avLst/>
          </a:prstGeom>
          <a:noFill/>
          <a:ln w="38100">
            <a:solidFill>
              <a:srgbClr val="0070C0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0290C3EC-9F88-658E-10F5-09ADC5B4915B}"/>
              </a:ext>
            </a:extLst>
          </p:cNvPr>
          <p:cNvSpPr/>
          <p:nvPr/>
        </p:nvSpPr>
        <p:spPr>
          <a:xfrm>
            <a:off x="9268840" y="3418587"/>
            <a:ext cx="2355011" cy="655607"/>
          </a:xfrm>
          <a:prstGeom prst="round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rgbClr val="F9F9F9"/>
              </a:gs>
            </a:gsLst>
            <a:lin ang="0" scaled="0"/>
            <a:tileRect/>
          </a:gradFill>
          <a:ln w="25400"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74000">
                  <a:schemeClr val="accent4">
                    <a:lumMod val="45000"/>
                    <a:lumOff val="55000"/>
                  </a:schemeClr>
                </a:gs>
                <a:gs pos="83000">
                  <a:schemeClr val="accent4">
                    <a:lumMod val="45000"/>
                    <a:lumOff val="55000"/>
                  </a:schemeClr>
                </a:gs>
                <a:gs pos="100000">
                  <a:schemeClr val="accent4">
                    <a:lumMod val="30000"/>
                    <a:lumOff val="70000"/>
                  </a:schemeClr>
                </a:gs>
              </a:gsLst>
              <a:lin ang="5400000" scaled="1"/>
              <a:tileRect/>
            </a:gra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9144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r>
              <a:rPr lang="en-US" sz="1400" b="1">
                <a:solidFill>
                  <a:srgbClr val="404040"/>
                </a:solidFill>
                <a:latin typeface="Arial"/>
              </a:rPr>
              <a:t>Vendor ecosystem</a:t>
            </a:r>
          </a:p>
          <a:p>
            <a:pPr algn="ctr" defTabSz="914400"/>
            <a:r>
              <a:rPr lang="en-US" sz="1400" b="1">
                <a:solidFill>
                  <a:srgbClr val="404040"/>
                </a:solidFill>
                <a:latin typeface="Arial"/>
              </a:rPr>
              <a:t>(OEMs/NEMs/ASICs)</a:t>
            </a:r>
          </a:p>
        </p:txBody>
      </p: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7139DF44-BB92-7F35-AC7B-F5E2059A6EA3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r>
              <a:rPr lang="en-US"/>
              <a:t>Keysight Elastic Network Generator</a:t>
            </a:r>
          </a:p>
        </p:txBody>
      </p:sp>
    </p:spTree>
    <p:extLst>
      <p:ext uri="{BB962C8B-B14F-4D97-AF65-F5344CB8AC3E}">
        <p14:creationId xmlns:p14="http://schemas.microsoft.com/office/powerpoint/2010/main" val="180994922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group of men holding devices&#10;&#10;AI-generated content may be incorrect.">
            <a:extLst>
              <a:ext uri="{FF2B5EF4-FFF2-40B4-BE49-F238E27FC236}">
                <a16:creationId xmlns:a16="http://schemas.microsoft.com/office/drawing/2014/main" id="{73308259-FF1B-907F-E420-B7530521E4B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42" r="9520"/>
          <a:stretch>
            <a:fillRect/>
          </a:stretch>
        </p:blipFill>
        <p:spPr>
          <a:xfrm>
            <a:off x="0" y="0"/>
            <a:ext cx="6106159" cy="6858000"/>
          </a:xfrm>
          <a:prstGeom prst="rect">
            <a:avLst/>
          </a:prstGeom>
        </p:spPr>
      </p:pic>
      <p:sp>
        <p:nvSpPr>
          <p:cNvPr id="58" name="Rectangle 57">
            <a:extLst>
              <a:ext uri="{FF2B5EF4-FFF2-40B4-BE49-F238E27FC236}">
                <a16:creationId xmlns:a16="http://schemas.microsoft.com/office/drawing/2014/main" id="{EC87F6F3-72A9-72D8-13BE-97BBCFBC4A14}"/>
              </a:ext>
            </a:extLst>
          </p:cNvPr>
          <p:cNvSpPr/>
          <p:nvPr/>
        </p:nvSpPr>
        <p:spPr>
          <a:xfrm>
            <a:off x="6102125" y="-2"/>
            <a:ext cx="6089875" cy="6858002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7129FB8-8598-9E9E-2FC2-5E1710C5BE73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alphaModFix amt="27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917" r="23167"/>
          <a:stretch/>
        </p:blipFill>
        <p:spPr>
          <a:xfrm>
            <a:off x="6106160" y="0"/>
            <a:ext cx="6085840" cy="6858000"/>
          </a:xfrm>
          <a:prstGeom prst="rect">
            <a:avLst/>
          </a:prstGeom>
        </p:spPr>
      </p:pic>
      <p:sp>
        <p:nvSpPr>
          <p:cNvPr id="21" name="Slide Number Placeholder 18">
            <a:extLst>
              <a:ext uri="{FF2B5EF4-FFF2-40B4-BE49-F238E27FC236}">
                <a16:creationId xmlns:a16="http://schemas.microsoft.com/office/drawing/2014/main" id="{BD85D73F-6AE2-F822-7094-2671FBDBB6DB}"/>
              </a:ext>
            </a:extLst>
          </p:cNvPr>
          <p:cNvSpPr txBox="1">
            <a:spLocks/>
          </p:cNvSpPr>
          <p:nvPr/>
        </p:nvSpPr>
        <p:spPr>
          <a:xfrm>
            <a:off x="8610600" y="6356350"/>
            <a:ext cx="326571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b="1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D99FDD-C365-5146-8C81-D5ABF521CCF5}" type="slidenum">
              <a:rPr kumimoji="0" lang="en-US" sz="12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79B4F06-0905-5415-9263-DCFF53C0F5B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86937" y="825498"/>
            <a:ext cx="1825489" cy="1825489"/>
          </a:xfrm>
          <a:prstGeom prst="teardrop">
            <a:avLst/>
          </a:prstGeom>
          <a:ln>
            <a:solidFill>
              <a:schemeClr val="tx1"/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3074" name="Picture 2" descr="Profile photo of Ashwin Joshi">
            <a:extLst>
              <a:ext uri="{FF2B5EF4-FFF2-40B4-BE49-F238E27FC236}">
                <a16:creationId xmlns:a16="http://schemas.microsoft.com/office/drawing/2014/main" id="{87110AA3-B50A-87C0-721C-504CA6C147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3626" y="2857431"/>
            <a:ext cx="1828800" cy="1828800"/>
          </a:xfrm>
          <a:prstGeom prst="teardrop">
            <a:avLst/>
          </a:prstGeom>
          <a:noFill/>
          <a:ln>
            <a:solidFill>
              <a:schemeClr val="tx1"/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Profile photo of Octavian Petre">
            <a:extLst>
              <a:ext uri="{FF2B5EF4-FFF2-40B4-BE49-F238E27FC236}">
                <a16:creationId xmlns:a16="http://schemas.microsoft.com/office/drawing/2014/main" id="{6E04DB4D-7177-DF2A-4E1B-AB4EA21591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3980" y="4857715"/>
            <a:ext cx="1828800" cy="1828800"/>
          </a:xfrm>
          <a:prstGeom prst="teardrop">
            <a:avLst/>
          </a:prstGeom>
          <a:noFill/>
          <a:ln>
            <a:solidFill>
              <a:schemeClr val="tx1"/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136589E4-E8FE-9BF7-40E6-5BDD637980A6}"/>
              </a:ext>
            </a:extLst>
          </p:cNvPr>
          <p:cNvSpPr txBox="1"/>
          <p:nvPr/>
        </p:nvSpPr>
        <p:spPr>
          <a:xfrm>
            <a:off x="8610600" y="825498"/>
            <a:ext cx="3265714" cy="73825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2000" b="1" dirty="0">
                <a:solidFill>
                  <a:srgbClr val="C00000"/>
                </a:solidFill>
              </a:rPr>
              <a:t>Manodipto Ghose (Mano)</a:t>
            </a:r>
          </a:p>
          <a:p>
            <a:pPr algn="l"/>
            <a:r>
              <a:rPr lang="en-US" sz="1400" dirty="0">
                <a:solidFill>
                  <a:srgbClr val="C00000"/>
                </a:solidFill>
              </a:rPr>
              <a:t>Sr. Product Manager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38BDB85-F633-41D7-03F7-965A2F1F522F}"/>
              </a:ext>
            </a:extLst>
          </p:cNvPr>
          <p:cNvSpPr txBox="1"/>
          <p:nvPr/>
        </p:nvSpPr>
        <p:spPr>
          <a:xfrm>
            <a:off x="8610600" y="2852665"/>
            <a:ext cx="3265714" cy="73825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2000" b="1" dirty="0">
                <a:solidFill>
                  <a:srgbClr val="C00000"/>
                </a:solidFill>
              </a:rPr>
              <a:t>Ashwin Joshi</a:t>
            </a:r>
          </a:p>
          <a:p>
            <a:pPr algn="l"/>
            <a:r>
              <a:rPr lang="en-US" sz="1400" dirty="0">
                <a:solidFill>
                  <a:srgbClr val="C00000"/>
                </a:solidFill>
              </a:rPr>
              <a:t>Sr. Solution Engineer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5661B53-6CBF-3392-847C-F252F94DC4B5}"/>
              </a:ext>
            </a:extLst>
          </p:cNvPr>
          <p:cNvSpPr txBox="1"/>
          <p:nvPr/>
        </p:nvSpPr>
        <p:spPr>
          <a:xfrm>
            <a:off x="8599533" y="4879832"/>
            <a:ext cx="3265714" cy="73825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2000" b="1" dirty="0">
                <a:solidFill>
                  <a:srgbClr val="C00000"/>
                </a:solidFill>
              </a:rPr>
              <a:t>Octavian Petre (Octav)</a:t>
            </a:r>
          </a:p>
          <a:p>
            <a:pPr algn="l"/>
            <a:r>
              <a:rPr lang="en-US" sz="1400" dirty="0">
                <a:solidFill>
                  <a:srgbClr val="C00000"/>
                </a:solidFill>
              </a:rPr>
              <a:t>Sr. Professional Services Engineer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DF7DF4E-2D41-0F20-8E75-E8E47FD403A7}"/>
              </a:ext>
            </a:extLst>
          </p:cNvPr>
          <p:cNvSpPr txBox="1"/>
          <p:nvPr/>
        </p:nvSpPr>
        <p:spPr>
          <a:xfrm>
            <a:off x="6443980" y="228083"/>
            <a:ext cx="543233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1800" b="1" dirty="0">
                <a:solidFill>
                  <a:srgbClr val="C00000"/>
                </a:solidFill>
              </a:rPr>
              <a:t>Keysight Network Test Team</a:t>
            </a:r>
          </a:p>
        </p:txBody>
      </p:sp>
    </p:spTree>
    <p:extLst>
      <p:ext uri="{BB962C8B-B14F-4D97-AF65-F5344CB8AC3E}">
        <p14:creationId xmlns:p14="http://schemas.microsoft.com/office/powerpoint/2010/main" val="2435797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A1E3A853-7E51-5F74-4333-563C5EFC829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B66A996F-AADD-91E4-37AF-DA279CC676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Network Testing</a:t>
            </a:r>
          </a:p>
        </p:txBody>
      </p:sp>
      <p:pic>
        <p:nvPicPr>
          <p:cNvPr id="12" name="Picture Placeholder 11" descr="A cartoon of a person holding a tablet&#10;&#10;AI-generated content may be incorrect.">
            <a:extLst>
              <a:ext uri="{FF2B5EF4-FFF2-40B4-BE49-F238E27FC236}">
                <a16:creationId xmlns:a16="http://schemas.microsoft.com/office/drawing/2014/main" id="{77676D14-0ADD-5419-42FC-8C7688087323}"/>
              </a:ext>
            </a:extLst>
          </p:cNvPr>
          <p:cNvPicPr>
            <a:picLocks noGrp="1" noChangeAspect="1"/>
          </p:cNvPicPr>
          <p:nvPr>
            <p:ph type="pic" sz="quarter" idx="429496729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875" b="21875"/>
          <a:stretch>
            <a:fillRect/>
          </a:stretch>
        </p:blipFill>
        <p:spPr>
          <a:xfrm>
            <a:off x="1007268" y="1117532"/>
            <a:ext cx="9872663" cy="5554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031550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cartoon of a person holding a tablet&#10;&#10;AI-generated content may be incorrect.">
            <a:extLst>
              <a:ext uri="{FF2B5EF4-FFF2-40B4-BE49-F238E27FC236}">
                <a16:creationId xmlns:a16="http://schemas.microsoft.com/office/drawing/2014/main" id="{4033615E-AA54-0C20-6D3A-CB40D73E9A5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149" b="17964"/>
          <a:stretch>
            <a:fillRect/>
          </a:stretch>
        </p:blipFill>
        <p:spPr>
          <a:xfrm>
            <a:off x="2988502" y="0"/>
            <a:ext cx="6214995" cy="4529943"/>
          </a:xfrm>
          <a:prstGeom prst="rect">
            <a:avLst/>
          </a:prstGeom>
        </p:spPr>
      </p:pic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9173FB7-E002-2001-03B9-CFF7E2B2C63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7804" y="3643902"/>
            <a:ext cx="5090696" cy="2579098"/>
          </a:xfrm>
        </p:spPr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Testing is for engineering not for network operato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Testing is too expensive and time consum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Traffic generators are a no go in my environ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I need to build a lab infra to replicate our production network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E4CB4366-00EF-302E-DBA8-BE7EFBC44F57}"/>
              </a:ext>
            </a:extLst>
          </p:cNvPr>
          <p:cNvSpPr txBox="1">
            <a:spLocks/>
          </p:cNvSpPr>
          <p:nvPr/>
        </p:nvSpPr>
        <p:spPr>
          <a:xfrm>
            <a:off x="6330950" y="3643902"/>
            <a:ext cx="5090696" cy="257909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65760" indent="-18288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0352" indent="-164592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 spc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687388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 cap="none" spc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858837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 lang="en-US" sz="1200" b="0" kern="1200" cap="none" spc="0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spc="60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Networks breaking in production is significant revenue los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Smart and virtualized testing is optimized for everyon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Traffic generators are built to fir all environments and require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Traffic generators can also emulate your network to test in emulation</a:t>
            </a:r>
          </a:p>
        </p:txBody>
      </p:sp>
    </p:spTree>
    <p:extLst>
      <p:ext uri="{BB962C8B-B14F-4D97-AF65-F5344CB8AC3E}">
        <p14:creationId xmlns:p14="http://schemas.microsoft.com/office/powerpoint/2010/main" val="13151341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Google Shape;102;p21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buSzPct val="111111"/>
            </a:pPr>
            <a:r>
              <a:rPr lang="en-US" dirty="0"/>
              <a:t>Traffic generator : What and Why</a:t>
            </a:r>
            <a:endParaRPr dirty="0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4B6B8733-8C24-BEDF-7226-A2E0EAE6564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762765" y="1786198"/>
            <a:ext cx="763601" cy="763601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D3C9A922-8F69-73D6-68C3-1A6286083D2E}"/>
              </a:ext>
            </a:extLst>
          </p:cNvPr>
          <p:cNvGrpSpPr/>
          <p:nvPr/>
        </p:nvGrpSpPr>
        <p:grpSpPr>
          <a:xfrm>
            <a:off x="3479292" y="1871760"/>
            <a:ext cx="5233417" cy="2898488"/>
            <a:chOff x="3475088" y="2373638"/>
            <a:chExt cx="4391406" cy="2432147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4109D6A2-5637-94C0-86AD-6248AD97029D}"/>
                </a:ext>
              </a:extLst>
            </p:cNvPr>
            <p:cNvGrpSpPr/>
            <p:nvPr/>
          </p:nvGrpSpPr>
          <p:grpSpPr>
            <a:xfrm>
              <a:off x="3798731" y="2373638"/>
              <a:ext cx="1872208" cy="613747"/>
              <a:chOff x="3791744" y="2373638"/>
              <a:chExt cx="1872208" cy="613747"/>
            </a:xfrm>
          </p:grpSpPr>
          <p:pic>
            <p:nvPicPr>
              <p:cNvPr id="69" name="Picture 68">
                <a:extLst>
                  <a:ext uri="{FF2B5EF4-FFF2-40B4-BE49-F238E27FC236}">
                    <a16:creationId xmlns:a16="http://schemas.microsoft.com/office/drawing/2014/main" id="{E159D567-96E2-09F8-2626-E8BC89A1012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3791744" y="2373638"/>
                <a:ext cx="1872208" cy="504056"/>
              </a:xfrm>
              <a:prstGeom prst="rect">
                <a:avLst/>
              </a:prstGeom>
              <a:ln>
                <a:solidFill>
                  <a:schemeClr val="tx1"/>
                </a:solidFill>
              </a:ln>
            </p:spPr>
          </p:pic>
          <p:grpSp>
            <p:nvGrpSpPr>
              <p:cNvPr id="70" name="Group 69">
                <a:extLst>
                  <a:ext uri="{FF2B5EF4-FFF2-40B4-BE49-F238E27FC236}">
                    <a16:creationId xmlns:a16="http://schemas.microsoft.com/office/drawing/2014/main" id="{5C8A8877-83D5-33E2-DBB8-9C5DB1635B8E}"/>
                  </a:ext>
                </a:extLst>
              </p:cNvPr>
              <p:cNvGrpSpPr/>
              <p:nvPr/>
            </p:nvGrpSpPr>
            <p:grpSpPr>
              <a:xfrm>
                <a:off x="4155803" y="2843369"/>
                <a:ext cx="1136071" cy="144016"/>
                <a:chOff x="4038600" y="2843369"/>
                <a:chExt cx="1136071" cy="144016"/>
              </a:xfrm>
            </p:grpSpPr>
            <p:sp>
              <p:nvSpPr>
                <p:cNvPr id="71" name="Rounded Rectangle 70">
                  <a:extLst>
                    <a:ext uri="{FF2B5EF4-FFF2-40B4-BE49-F238E27FC236}">
                      <a16:creationId xmlns:a16="http://schemas.microsoft.com/office/drawing/2014/main" id="{B1AA76BB-08C1-EC16-A712-21E97C8B1F9C}"/>
                    </a:ext>
                  </a:extLst>
                </p:cNvPr>
                <p:cNvSpPr/>
                <p:nvPr/>
              </p:nvSpPr>
              <p:spPr>
                <a:xfrm>
                  <a:off x="4038600" y="2843369"/>
                  <a:ext cx="257200" cy="144016"/>
                </a:xfrm>
                <a:prstGeom prst="round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2400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72" name="Rounded Rectangle 71">
                  <a:extLst>
                    <a:ext uri="{FF2B5EF4-FFF2-40B4-BE49-F238E27FC236}">
                      <a16:creationId xmlns:a16="http://schemas.microsoft.com/office/drawing/2014/main" id="{CF2EE9FA-2539-8862-EF3C-D524B0536E2B}"/>
                    </a:ext>
                  </a:extLst>
                </p:cNvPr>
                <p:cNvSpPr/>
                <p:nvPr/>
              </p:nvSpPr>
              <p:spPr>
                <a:xfrm>
                  <a:off x="4331557" y="2843369"/>
                  <a:ext cx="257200" cy="144016"/>
                </a:xfrm>
                <a:prstGeom prst="round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2400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73" name="Rounded Rectangle 72">
                  <a:extLst>
                    <a:ext uri="{FF2B5EF4-FFF2-40B4-BE49-F238E27FC236}">
                      <a16:creationId xmlns:a16="http://schemas.microsoft.com/office/drawing/2014/main" id="{0AF86340-0CDC-BC9D-572A-65006822D2A5}"/>
                    </a:ext>
                  </a:extLst>
                </p:cNvPr>
                <p:cNvSpPr/>
                <p:nvPr/>
              </p:nvSpPr>
              <p:spPr>
                <a:xfrm>
                  <a:off x="4624514" y="2843369"/>
                  <a:ext cx="257200" cy="144016"/>
                </a:xfrm>
                <a:prstGeom prst="round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2400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74" name="Rounded Rectangle 73">
                  <a:extLst>
                    <a:ext uri="{FF2B5EF4-FFF2-40B4-BE49-F238E27FC236}">
                      <a16:creationId xmlns:a16="http://schemas.microsoft.com/office/drawing/2014/main" id="{D9D896BA-7EBD-16B8-E6A6-77FC165A8132}"/>
                    </a:ext>
                  </a:extLst>
                </p:cNvPr>
                <p:cNvSpPr/>
                <p:nvPr/>
              </p:nvSpPr>
              <p:spPr>
                <a:xfrm>
                  <a:off x="4917471" y="2843369"/>
                  <a:ext cx="257200" cy="144016"/>
                </a:xfrm>
                <a:prstGeom prst="round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2400" dirty="0" err="1">
                    <a:solidFill>
                      <a:schemeClr val="tx1"/>
                    </a:solidFill>
                  </a:endParaRPr>
                </a:p>
              </p:txBody>
            </p:sp>
          </p:grpSp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4EB6031B-79E5-72D1-6F90-56A985DA1E97}"/>
                </a:ext>
              </a:extLst>
            </p:cNvPr>
            <p:cNvGrpSpPr/>
            <p:nvPr/>
          </p:nvGrpSpPr>
          <p:grpSpPr>
            <a:xfrm>
              <a:off x="5626218" y="2373638"/>
              <a:ext cx="1872208" cy="613747"/>
              <a:chOff x="6315283" y="2373638"/>
              <a:chExt cx="1872208" cy="613747"/>
            </a:xfrm>
          </p:grpSpPr>
          <p:pic>
            <p:nvPicPr>
              <p:cNvPr id="63" name="Picture 62">
                <a:extLst>
                  <a:ext uri="{FF2B5EF4-FFF2-40B4-BE49-F238E27FC236}">
                    <a16:creationId xmlns:a16="http://schemas.microsoft.com/office/drawing/2014/main" id="{3F8FC359-D08F-4FD0-FD21-B886B57E3F1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6315283" y="2373638"/>
                <a:ext cx="1872208" cy="504056"/>
              </a:xfrm>
              <a:prstGeom prst="rect">
                <a:avLst/>
              </a:prstGeom>
              <a:ln>
                <a:solidFill>
                  <a:schemeClr val="tx1"/>
                </a:solidFill>
              </a:ln>
            </p:spPr>
          </p:pic>
          <p:grpSp>
            <p:nvGrpSpPr>
              <p:cNvPr id="64" name="Group 63">
                <a:extLst>
                  <a:ext uri="{FF2B5EF4-FFF2-40B4-BE49-F238E27FC236}">
                    <a16:creationId xmlns:a16="http://schemas.microsoft.com/office/drawing/2014/main" id="{4EA2C06A-C927-7257-3F40-80A47E616935}"/>
                  </a:ext>
                </a:extLst>
              </p:cNvPr>
              <p:cNvGrpSpPr/>
              <p:nvPr/>
            </p:nvGrpSpPr>
            <p:grpSpPr>
              <a:xfrm>
                <a:off x="6683351" y="2843369"/>
                <a:ext cx="1136071" cy="144016"/>
                <a:chOff x="4038600" y="2843369"/>
                <a:chExt cx="1136071" cy="144016"/>
              </a:xfrm>
            </p:grpSpPr>
            <p:sp>
              <p:nvSpPr>
                <p:cNvPr id="65" name="Rounded Rectangle 64">
                  <a:extLst>
                    <a:ext uri="{FF2B5EF4-FFF2-40B4-BE49-F238E27FC236}">
                      <a16:creationId xmlns:a16="http://schemas.microsoft.com/office/drawing/2014/main" id="{566FC4B5-BDA3-74A0-7048-D74FF0B21493}"/>
                    </a:ext>
                  </a:extLst>
                </p:cNvPr>
                <p:cNvSpPr/>
                <p:nvPr/>
              </p:nvSpPr>
              <p:spPr>
                <a:xfrm>
                  <a:off x="4038600" y="2843369"/>
                  <a:ext cx="257200" cy="144016"/>
                </a:xfrm>
                <a:prstGeom prst="round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2400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66" name="Rounded Rectangle 65">
                  <a:extLst>
                    <a:ext uri="{FF2B5EF4-FFF2-40B4-BE49-F238E27FC236}">
                      <a16:creationId xmlns:a16="http://schemas.microsoft.com/office/drawing/2014/main" id="{B6B590DA-DF3C-0CE2-F2D5-C18F7755884D}"/>
                    </a:ext>
                  </a:extLst>
                </p:cNvPr>
                <p:cNvSpPr/>
                <p:nvPr/>
              </p:nvSpPr>
              <p:spPr>
                <a:xfrm>
                  <a:off x="4331557" y="2843369"/>
                  <a:ext cx="257200" cy="144016"/>
                </a:xfrm>
                <a:prstGeom prst="round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2400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67" name="Rounded Rectangle 66">
                  <a:extLst>
                    <a:ext uri="{FF2B5EF4-FFF2-40B4-BE49-F238E27FC236}">
                      <a16:creationId xmlns:a16="http://schemas.microsoft.com/office/drawing/2014/main" id="{8995511B-8B6E-93BD-A711-2B54045E73C7}"/>
                    </a:ext>
                  </a:extLst>
                </p:cNvPr>
                <p:cNvSpPr/>
                <p:nvPr/>
              </p:nvSpPr>
              <p:spPr>
                <a:xfrm>
                  <a:off x="4624514" y="2843369"/>
                  <a:ext cx="257200" cy="144016"/>
                </a:xfrm>
                <a:prstGeom prst="round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2400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68" name="Rounded Rectangle 67">
                  <a:extLst>
                    <a:ext uri="{FF2B5EF4-FFF2-40B4-BE49-F238E27FC236}">
                      <a16:creationId xmlns:a16="http://schemas.microsoft.com/office/drawing/2014/main" id="{ABAFA682-76AF-B587-F89A-FB2E3BBF0E99}"/>
                    </a:ext>
                  </a:extLst>
                </p:cNvPr>
                <p:cNvSpPr/>
                <p:nvPr/>
              </p:nvSpPr>
              <p:spPr>
                <a:xfrm>
                  <a:off x="4917471" y="2843369"/>
                  <a:ext cx="257200" cy="144016"/>
                </a:xfrm>
                <a:prstGeom prst="round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2400" dirty="0" err="1">
                    <a:solidFill>
                      <a:schemeClr val="tx1"/>
                    </a:solidFill>
                  </a:endParaRPr>
                </a:p>
              </p:txBody>
            </p:sp>
          </p:grpSp>
        </p:grp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E3BF590B-55A2-F681-9177-5D23960F3CAC}"/>
                </a:ext>
              </a:extLst>
            </p:cNvPr>
            <p:cNvCxnSpPr>
              <a:cxnSpLocks/>
              <a:stCxn id="31" idx="0"/>
              <a:endCxn id="73" idx="2"/>
            </p:cNvCxnSpPr>
            <p:nvPr/>
          </p:nvCxnSpPr>
          <p:spPr>
            <a:xfrm flipH="1" flipV="1">
              <a:off x="4877304" y="2987385"/>
              <a:ext cx="1577892" cy="513156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90D025A9-F040-218C-4929-5233B91310D3}"/>
                </a:ext>
              </a:extLst>
            </p:cNvPr>
            <p:cNvCxnSpPr>
              <a:cxnSpLocks/>
              <a:stCxn id="32" idx="0"/>
              <a:endCxn id="74" idx="2"/>
            </p:cNvCxnSpPr>
            <p:nvPr/>
          </p:nvCxnSpPr>
          <p:spPr>
            <a:xfrm flipH="1" flipV="1">
              <a:off x="5170261" y="2987385"/>
              <a:ext cx="1577892" cy="513156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C6D60235-D36E-CE82-46D9-45CE348E9560}"/>
                </a:ext>
              </a:extLst>
            </p:cNvPr>
            <p:cNvCxnSpPr>
              <a:cxnSpLocks/>
              <a:stCxn id="53" idx="0"/>
              <a:endCxn id="65" idx="2"/>
            </p:cNvCxnSpPr>
            <p:nvPr/>
          </p:nvCxnSpPr>
          <p:spPr>
            <a:xfrm flipV="1">
              <a:off x="4539791" y="2987385"/>
              <a:ext cx="1583095" cy="513156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8D157053-86D7-BB64-DE6A-224AE64BA6B7}"/>
                </a:ext>
              </a:extLst>
            </p:cNvPr>
            <p:cNvCxnSpPr>
              <a:cxnSpLocks/>
              <a:stCxn id="54" idx="0"/>
              <a:endCxn id="66" idx="2"/>
            </p:cNvCxnSpPr>
            <p:nvPr/>
          </p:nvCxnSpPr>
          <p:spPr>
            <a:xfrm flipV="1">
              <a:off x="4832748" y="2987385"/>
              <a:ext cx="1583095" cy="513156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6191BD95-6A15-BC36-E011-61A6AA6FC021}"/>
                </a:ext>
              </a:extLst>
            </p:cNvPr>
            <p:cNvGrpSpPr/>
            <p:nvPr/>
          </p:nvGrpSpPr>
          <p:grpSpPr>
            <a:xfrm>
              <a:off x="3475088" y="3500541"/>
              <a:ext cx="1872208" cy="1305244"/>
              <a:chOff x="2856616" y="3500541"/>
              <a:chExt cx="1872208" cy="1305244"/>
            </a:xfrm>
          </p:grpSpPr>
          <p:pic>
            <p:nvPicPr>
              <p:cNvPr id="43" name="Picture 42">
                <a:extLst>
                  <a:ext uri="{FF2B5EF4-FFF2-40B4-BE49-F238E27FC236}">
                    <a16:creationId xmlns:a16="http://schemas.microsoft.com/office/drawing/2014/main" id="{A968EB4C-99F5-EA27-5559-87F87DF0C60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2856616" y="3644557"/>
                <a:ext cx="1872208" cy="504056"/>
              </a:xfrm>
              <a:prstGeom prst="rect">
                <a:avLst/>
              </a:prstGeom>
              <a:ln>
                <a:solidFill>
                  <a:schemeClr val="tx1"/>
                </a:solidFill>
              </a:ln>
            </p:spPr>
          </p:pic>
          <p:grpSp>
            <p:nvGrpSpPr>
              <p:cNvPr id="44" name="Group 43">
                <a:extLst>
                  <a:ext uri="{FF2B5EF4-FFF2-40B4-BE49-F238E27FC236}">
                    <a16:creationId xmlns:a16="http://schemas.microsoft.com/office/drawing/2014/main" id="{8870F07A-EE71-B82D-0C60-DD9BE55B22D4}"/>
                  </a:ext>
                </a:extLst>
              </p:cNvPr>
              <p:cNvGrpSpPr/>
              <p:nvPr/>
            </p:nvGrpSpPr>
            <p:grpSpPr>
              <a:xfrm>
                <a:off x="3206805" y="4127085"/>
                <a:ext cx="1136071" cy="144016"/>
                <a:chOff x="4038600" y="2843369"/>
                <a:chExt cx="1136071" cy="144016"/>
              </a:xfrm>
            </p:grpSpPr>
            <p:sp>
              <p:nvSpPr>
                <p:cNvPr id="59" name="Rounded Rectangle 58">
                  <a:extLst>
                    <a:ext uri="{FF2B5EF4-FFF2-40B4-BE49-F238E27FC236}">
                      <a16:creationId xmlns:a16="http://schemas.microsoft.com/office/drawing/2014/main" id="{B86623D4-F84C-E1F8-5659-BAF5DD222878}"/>
                    </a:ext>
                  </a:extLst>
                </p:cNvPr>
                <p:cNvSpPr/>
                <p:nvPr/>
              </p:nvSpPr>
              <p:spPr>
                <a:xfrm>
                  <a:off x="4038600" y="2843369"/>
                  <a:ext cx="257200" cy="144016"/>
                </a:xfrm>
                <a:prstGeom prst="round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2400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60" name="Rounded Rectangle 59">
                  <a:extLst>
                    <a:ext uri="{FF2B5EF4-FFF2-40B4-BE49-F238E27FC236}">
                      <a16:creationId xmlns:a16="http://schemas.microsoft.com/office/drawing/2014/main" id="{A3AF09B1-59F0-A55B-44E8-40AE216237A3}"/>
                    </a:ext>
                  </a:extLst>
                </p:cNvPr>
                <p:cNvSpPr/>
                <p:nvPr/>
              </p:nvSpPr>
              <p:spPr>
                <a:xfrm>
                  <a:off x="4331557" y="2843369"/>
                  <a:ext cx="257200" cy="144016"/>
                </a:xfrm>
                <a:prstGeom prst="round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2400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61" name="Rounded Rectangle 60">
                  <a:extLst>
                    <a:ext uri="{FF2B5EF4-FFF2-40B4-BE49-F238E27FC236}">
                      <a16:creationId xmlns:a16="http://schemas.microsoft.com/office/drawing/2014/main" id="{83616003-EB76-2152-AB74-174D818D3A1A}"/>
                    </a:ext>
                  </a:extLst>
                </p:cNvPr>
                <p:cNvSpPr/>
                <p:nvPr/>
              </p:nvSpPr>
              <p:spPr>
                <a:xfrm>
                  <a:off x="4624514" y="2843369"/>
                  <a:ext cx="257200" cy="144016"/>
                </a:xfrm>
                <a:prstGeom prst="round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2400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62" name="Rounded Rectangle 61">
                  <a:extLst>
                    <a:ext uri="{FF2B5EF4-FFF2-40B4-BE49-F238E27FC236}">
                      <a16:creationId xmlns:a16="http://schemas.microsoft.com/office/drawing/2014/main" id="{AA5B3020-1D15-1A9C-0BEC-CCAEA38E78A1}"/>
                    </a:ext>
                  </a:extLst>
                </p:cNvPr>
                <p:cNvSpPr/>
                <p:nvPr/>
              </p:nvSpPr>
              <p:spPr>
                <a:xfrm>
                  <a:off x="4917471" y="2843369"/>
                  <a:ext cx="257200" cy="144016"/>
                </a:xfrm>
                <a:prstGeom prst="round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2400" dirty="0" err="1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45" name="Group 44">
                <a:extLst>
                  <a:ext uri="{FF2B5EF4-FFF2-40B4-BE49-F238E27FC236}">
                    <a16:creationId xmlns:a16="http://schemas.microsoft.com/office/drawing/2014/main" id="{56F78F12-1087-B845-C294-451D05B65C37}"/>
                  </a:ext>
                </a:extLst>
              </p:cNvPr>
              <p:cNvGrpSpPr/>
              <p:nvPr/>
            </p:nvGrpSpPr>
            <p:grpSpPr>
              <a:xfrm>
                <a:off x="3206805" y="4661769"/>
                <a:ext cx="1136071" cy="144016"/>
                <a:chOff x="4038600" y="2843369"/>
                <a:chExt cx="1136071" cy="144016"/>
              </a:xfrm>
            </p:grpSpPr>
            <p:sp>
              <p:nvSpPr>
                <p:cNvPr id="55" name="Rounded Rectangle 54">
                  <a:extLst>
                    <a:ext uri="{FF2B5EF4-FFF2-40B4-BE49-F238E27FC236}">
                      <a16:creationId xmlns:a16="http://schemas.microsoft.com/office/drawing/2014/main" id="{3DB3FF8E-01D8-761B-DE4A-410955149E65}"/>
                    </a:ext>
                  </a:extLst>
                </p:cNvPr>
                <p:cNvSpPr/>
                <p:nvPr/>
              </p:nvSpPr>
              <p:spPr>
                <a:xfrm>
                  <a:off x="4038600" y="2843369"/>
                  <a:ext cx="257200" cy="144016"/>
                </a:xfrm>
                <a:prstGeom prst="round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2400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56" name="Rounded Rectangle 55">
                  <a:extLst>
                    <a:ext uri="{FF2B5EF4-FFF2-40B4-BE49-F238E27FC236}">
                      <a16:creationId xmlns:a16="http://schemas.microsoft.com/office/drawing/2014/main" id="{611A47A8-8909-B3CB-F63F-38BFC3E14CD9}"/>
                    </a:ext>
                  </a:extLst>
                </p:cNvPr>
                <p:cNvSpPr/>
                <p:nvPr/>
              </p:nvSpPr>
              <p:spPr>
                <a:xfrm>
                  <a:off x="4331557" y="2843369"/>
                  <a:ext cx="257200" cy="144016"/>
                </a:xfrm>
                <a:prstGeom prst="round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2400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57" name="Rounded Rectangle 56">
                  <a:extLst>
                    <a:ext uri="{FF2B5EF4-FFF2-40B4-BE49-F238E27FC236}">
                      <a16:creationId xmlns:a16="http://schemas.microsoft.com/office/drawing/2014/main" id="{F355FB2C-DFA0-F79D-F35A-AEE51072774B}"/>
                    </a:ext>
                  </a:extLst>
                </p:cNvPr>
                <p:cNvSpPr/>
                <p:nvPr/>
              </p:nvSpPr>
              <p:spPr>
                <a:xfrm>
                  <a:off x="4624514" y="2843369"/>
                  <a:ext cx="257200" cy="144016"/>
                </a:xfrm>
                <a:prstGeom prst="round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2400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58" name="Rounded Rectangle 57">
                  <a:extLst>
                    <a:ext uri="{FF2B5EF4-FFF2-40B4-BE49-F238E27FC236}">
                      <a16:creationId xmlns:a16="http://schemas.microsoft.com/office/drawing/2014/main" id="{C2E822CB-A5B5-6051-6B99-2E99A33DD7E1}"/>
                    </a:ext>
                  </a:extLst>
                </p:cNvPr>
                <p:cNvSpPr/>
                <p:nvPr/>
              </p:nvSpPr>
              <p:spPr>
                <a:xfrm>
                  <a:off x="4917471" y="2843369"/>
                  <a:ext cx="257200" cy="144016"/>
                </a:xfrm>
                <a:prstGeom prst="round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2400" dirty="0" err="1">
                    <a:solidFill>
                      <a:schemeClr val="tx1"/>
                    </a:solidFill>
                  </a:endParaRPr>
                </a:p>
              </p:txBody>
            </p:sp>
          </p:grp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F00F5109-3FBE-280B-7802-830968231042}"/>
                  </a:ext>
                </a:extLst>
              </p:cNvPr>
              <p:cNvCxnSpPr>
                <a:cxnSpLocks/>
                <a:stCxn id="55" idx="0"/>
                <a:endCxn id="59" idx="2"/>
              </p:cNvCxnSpPr>
              <p:nvPr/>
            </p:nvCxnSpPr>
            <p:spPr>
              <a:xfrm flipV="1">
                <a:off x="3335405" y="4271101"/>
                <a:ext cx="0" cy="390668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0B82B954-35D6-BF26-C3AF-6ACE3BF3A72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628362" y="4271101"/>
                <a:ext cx="0" cy="390668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206B23F6-E23B-AD80-7490-77F0DE8417C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921319" y="4271101"/>
                <a:ext cx="0" cy="390668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218CA757-03BB-EBB8-0BED-7378C0AF3BF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18601" y="4271101"/>
                <a:ext cx="0" cy="390668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50" name="Group 49">
                <a:extLst>
                  <a:ext uri="{FF2B5EF4-FFF2-40B4-BE49-F238E27FC236}">
                    <a16:creationId xmlns:a16="http://schemas.microsoft.com/office/drawing/2014/main" id="{9D88A709-65F1-8F2F-A996-A57D3CA80637}"/>
                  </a:ext>
                </a:extLst>
              </p:cNvPr>
              <p:cNvGrpSpPr/>
              <p:nvPr/>
            </p:nvGrpSpPr>
            <p:grpSpPr>
              <a:xfrm>
                <a:off x="3206805" y="3500541"/>
                <a:ext cx="1136071" cy="144016"/>
                <a:chOff x="4038600" y="2843369"/>
                <a:chExt cx="1136071" cy="144016"/>
              </a:xfrm>
            </p:grpSpPr>
            <p:sp>
              <p:nvSpPr>
                <p:cNvPr id="51" name="Rounded Rectangle 50">
                  <a:extLst>
                    <a:ext uri="{FF2B5EF4-FFF2-40B4-BE49-F238E27FC236}">
                      <a16:creationId xmlns:a16="http://schemas.microsoft.com/office/drawing/2014/main" id="{6AF345AB-2612-0EC6-AAB1-D9721C0C980E}"/>
                    </a:ext>
                  </a:extLst>
                </p:cNvPr>
                <p:cNvSpPr/>
                <p:nvPr/>
              </p:nvSpPr>
              <p:spPr>
                <a:xfrm>
                  <a:off x="4038600" y="2843369"/>
                  <a:ext cx="257200" cy="144016"/>
                </a:xfrm>
                <a:prstGeom prst="round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2400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52" name="Rounded Rectangle 51">
                  <a:extLst>
                    <a:ext uri="{FF2B5EF4-FFF2-40B4-BE49-F238E27FC236}">
                      <a16:creationId xmlns:a16="http://schemas.microsoft.com/office/drawing/2014/main" id="{0C4B8986-7166-B54E-0B74-4CC6A3D5B2E1}"/>
                    </a:ext>
                  </a:extLst>
                </p:cNvPr>
                <p:cNvSpPr/>
                <p:nvPr/>
              </p:nvSpPr>
              <p:spPr>
                <a:xfrm>
                  <a:off x="4331557" y="2843369"/>
                  <a:ext cx="257200" cy="144016"/>
                </a:xfrm>
                <a:prstGeom prst="round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2400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53" name="Rounded Rectangle 52">
                  <a:extLst>
                    <a:ext uri="{FF2B5EF4-FFF2-40B4-BE49-F238E27FC236}">
                      <a16:creationId xmlns:a16="http://schemas.microsoft.com/office/drawing/2014/main" id="{339E94EF-1154-6A97-5BD8-0ED649EBB027}"/>
                    </a:ext>
                  </a:extLst>
                </p:cNvPr>
                <p:cNvSpPr/>
                <p:nvPr/>
              </p:nvSpPr>
              <p:spPr>
                <a:xfrm>
                  <a:off x="4624514" y="2843369"/>
                  <a:ext cx="257200" cy="144016"/>
                </a:xfrm>
                <a:prstGeom prst="round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2400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54" name="Rounded Rectangle 53">
                  <a:extLst>
                    <a:ext uri="{FF2B5EF4-FFF2-40B4-BE49-F238E27FC236}">
                      <a16:creationId xmlns:a16="http://schemas.microsoft.com/office/drawing/2014/main" id="{57904AED-A65F-9E14-3B27-86434550AC06}"/>
                    </a:ext>
                  </a:extLst>
                </p:cNvPr>
                <p:cNvSpPr/>
                <p:nvPr/>
              </p:nvSpPr>
              <p:spPr>
                <a:xfrm>
                  <a:off x="4917471" y="2843369"/>
                  <a:ext cx="257200" cy="144016"/>
                </a:xfrm>
                <a:prstGeom prst="round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2400" dirty="0" err="1">
                    <a:solidFill>
                      <a:schemeClr val="tx1"/>
                    </a:solidFill>
                  </a:endParaRPr>
                </a:p>
              </p:txBody>
            </p:sp>
          </p:grp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4A8E0F1B-BD7D-4712-9930-B70BB7340C90}"/>
                </a:ext>
              </a:extLst>
            </p:cNvPr>
            <p:cNvGrpSpPr/>
            <p:nvPr/>
          </p:nvGrpSpPr>
          <p:grpSpPr>
            <a:xfrm>
              <a:off x="5994286" y="3500541"/>
              <a:ext cx="1872208" cy="1305244"/>
              <a:chOff x="7479142" y="3500541"/>
              <a:chExt cx="1872208" cy="1305244"/>
            </a:xfrm>
          </p:grpSpPr>
          <p:pic>
            <p:nvPicPr>
              <p:cNvPr id="23" name="Picture 22">
                <a:extLst>
                  <a:ext uri="{FF2B5EF4-FFF2-40B4-BE49-F238E27FC236}">
                    <a16:creationId xmlns:a16="http://schemas.microsoft.com/office/drawing/2014/main" id="{5AD6BEBD-605D-C46D-77E2-1E7798496A0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7479142" y="3644557"/>
                <a:ext cx="1872208" cy="504056"/>
              </a:xfrm>
              <a:prstGeom prst="rect">
                <a:avLst/>
              </a:prstGeom>
              <a:ln>
                <a:solidFill>
                  <a:schemeClr val="tx1"/>
                </a:solidFill>
              </a:ln>
            </p:spPr>
          </p:pic>
          <p:grpSp>
            <p:nvGrpSpPr>
              <p:cNvPr id="24" name="Group 23">
                <a:extLst>
                  <a:ext uri="{FF2B5EF4-FFF2-40B4-BE49-F238E27FC236}">
                    <a16:creationId xmlns:a16="http://schemas.microsoft.com/office/drawing/2014/main" id="{C4123A68-C637-B6C3-B307-4CFC5CEC4F77}"/>
                  </a:ext>
                </a:extLst>
              </p:cNvPr>
              <p:cNvGrpSpPr/>
              <p:nvPr/>
            </p:nvGrpSpPr>
            <p:grpSpPr>
              <a:xfrm>
                <a:off x="7829331" y="4127085"/>
                <a:ext cx="1136071" cy="144016"/>
                <a:chOff x="4038600" y="2843369"/>
                <a:chExt cx="1136071" cy="144016"/>
              </a:xfrm>
            </p:grpSpPr>
            <p:sp>
              <p:nvSpPr>
                <p:cNvPr id="39" name="Rounded Rectangle 38">
                  <a:extLst>
                    <a:ext uri="{FF2B5EF4-FFF2-40B4-BE49-F238E27FC236}">
                      <a16:creationId xmlns:a16="http://schemas.microsoft.com/office/drawing/2014/main" id="{CB6AD7F5-0358-66F9-ED3E-323258F1323E}"/>
                    </a:ext>
                  </a:extLst>
                </p:cNvPr>
                <p:cNvSpPr/>
                <p:nvPr/>
              </p:nvSpPr>
              <p:spPr>
                <a:xfrm>
                  <a:off x="4038600" y="2843369"/>
                  <a:ext cx="257200" cy="144016"/>
                </a:xfrm>
                <a:prstGeom prst="round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2400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40" name="Rounded Rectangle 39">
                  <a:extLst>
                    <a:ext uri="{FF2B5EF4-FFF2-40B4-BE49-F238E27FC236}">
                      <a16:creationId xmlns:a16="http://schemas.microsoft.com/office/drawing/2014/main" id="{2B2B8493-C15D-F974-E3A6-01C7C1C7AA4C}"/>
                    </a:ext>
                  </a:extLst>
                </p:cNvPr>
                <p:cNvSpPr/>
                <p:nvPr/>
              </p:nvSpPr>
              <p:spPr>
                <a:xfrm>
                  <a:off x="4331557" y="2843369"/>
                  <a:ext cx="257200" cy="144016"/>
                </a:xfrm>
                <a:prstGeom prst="round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2400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41" name="Rounded Rectangle 40">
                  <a:extLst>
                    <a:ext uri="{FF2B5EF4-FFF2-40B4-BE49-F238E27FC236}">
                      <a16:creationId xmlns:a16="http://schemas.microsoft.com/office/drawing/2014/main" id="{58C9F64B-5F61-2BDC-B932-E6E011B5818D}"/>
                    </a:ext>
                  </a:extLst>
                </p:cNvPr>
                <p:cNvSpPr/>
                <p:nvPr/>
              </p:nvSpPr>
              <p:spPr>
                <a:xfrm>
                  <a:off x="4624514" y="2843369"/>
                  <a:ext cx="257200" cy="144016"/>
                </a:xfrm>
                <a:prstGeom prst="round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2400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42" name="Rounded Rectangle 41">
                  <a:extLst>
                    <a:ext uri="{FF2B5EF4-FFF2-40B4-BE49-F238E27FC236}">
                      <a16:creationId xmlns:a16="http://schemas.microsoft.com/office/drawing/2014/main" id="{561F744C-F998-8DE7-D905-8CD312F7C692}"/>
                    </a:ext>
                  </a:extLst>
                </p:cNvPr>
                <p:cNvSpPr/>
                <p:nvPr/>
              </p:nvSpPr>
              <p:spPr>
                <a:xfrm>
                  <a:off x="4917471" y="2843369"/>
                  <a:ext cx="257200" cy="144016"/>
                </a:xfrm>
                <a:prstGeom prst="round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2400" dirty="0" err="1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25" name="Group 24">
                <a:extLst>
                  <a:ext uri="{FF2B5EF4-FFF2-40B4-BE49-F238E27FC236}">
                    <a16:creationId xmlns:a16="http://schemas.microsoft.com/office/drawing/2014/main" id="{95BA6747-4A95-0D44-1859-A992DA868931}"/>
                  </a:ext>
                </a:extLst>
              </p:cNvPr>
              <p:cNvGrpSpPr/>
              <p:nvPr/>
            </p:nvGrpSpPr>
            <p:grpSpPr>
              <a:xfrm>
                <a:off x="7829331" y="4661769"/>
                <a:ext cx="1136071" cy="144016"/>
                <a:chOff x="4038600" y="2843369"/>
                <a:chExt cx="1136071" cy="144016"/>
              </a:xfrm>
            </p:grpSpPr>
            <p:sp>
              <p:nvSpPr>
                <p:cNvPr id="35" name="Rounded Rectangle 34">
                  <a:extLst>
                    <a:ext uri="{FF2B5EF4-FFF2-40B4-BE49-F238E27FC236}">
                      <a16:creationId xmlns:a16="http://schemas.microsoft.com/office/drawing/2014/main" id="{D5E0B21B-D264-E241-1338-EB09FEE3B3C1}"/>
                    </a:ext>
                  </a:extLst>
                </p:cNvPr>
                <p:cNvSpPr/>
                <p:nvPr/>
              </p:nvSpPr>
              <p:spPr>
                <a:xfrm>
                  <a:off x="4038600" y="2843369"/>
                  <a:ext cx="257200" cy="144016"/>
                </a:xfrm>
                <a:prstGeom prst="round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2400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6" name="Rounded Rectangle 35">
                  <a:extLst>
                    <a:ext uri="{FF2B5EF4-FFF2-40B4-BE49-F238E27FC236}">
                      <a16:creationId xmlns:a16="http://schemas.microsoft.com/office/drawing/2014/main" id="{B332C861-23AC-91EC-012F-E583781ACFEA}"/>
                    </a:ext>
                  </a:extLst>
                </p:cNvPr>
                <p:cNvSpPr/>
                <p:nvPr/>
              </p:nvSpPr>
              <p:spPr>
                <a:xfrm>
                  <a:off x="4331557" y="2843369"/>
                  <a:ext cx="257200" cy="144016"/>
                </a:xfrm>
                <a:prstGeom prst="round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2400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7" name="Rounded Rectangle 36">
                  <a:extLst>
                    <a:ext uri="{FF2B5EF4-FFF2-40B4-BE49-F238E27FC236}">
                      <a16:creationId xmlns:a16="http://schemas.microsoft.com/office/drawing/2014/main" id="{658323B1-1F9B-513C-A1E0-1B7B80AA0661}"/>
                    </a:ext>
                  </a:extLst>
                </p:cNvPr>
                <p:cNvSpPr/>
                <p:nvPr/>
              </p:nvSpPr>
              <p:spPr>
                <a:xfrm>
                  <a:off x="4624514" y="2843369"/>
                  <a:ext cx="257200" cy="144016"/>
                </a:xfrm>
                <a:prstGeom prst="round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2400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8" name="Rounded Rectangle 37">
                  <a:extLst>
                    <a:ext uri="{FF2B5EF4-FFF2-40B4-BE49-F238E27FC236}">
                      <a16:creationId xmlns:a16="http://schemas.microsoft.com/office/drawing/2014/main" id="{DC1D0CB4-4AE0-7F80-4501-702BDFC2C258}"/>
                    </a:ext>
                  </a:extLst>
                </p:cNvPr>
                <p:cNvSpPr/>
                <p:nvPr/>
              </p:nvSpPr>
              <p:spPr>
                <a:xfrm>
                  <a:off x="4917471" y="2843369"/>
                  <a:ext cx="257200" cy="144016"/>
                </a:xfrm>
                <a:prstGeom prst="round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2400" dirty="0" err="1">
                    <a:solidFill>
                      <a:schemeClr val="tx1"/>
                    </a:solidFill>
                  </a:endParaRPr>
                </a:p>
              </p:txBody>
            </p:sp>
          </p:grpSp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1CFE9593-6618-05D8-216C-3550FFEBE4A6}"/>
                  </a:ext>
                </a:extLst>
              </p:cNvPr>
              <p:cNvCxnSpPr>
                <a:cxnSpLocks/>
                <a:stCxn id="35" idx="0"/>
                <a:endCxn id="39" idx="2"/>
              </p:cNvCxnSpPr>
              <p:nvPr/>
            </p:nvCxnSpPr>
            <p:spPr>
              <a:xfrm flipV="1">
                <a:off x="7957931" y="4271101"/>
                <a:ext cx="0" cy="390668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98050CB3-98A6-A575-8382-FDD869477DE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250888" y="4271101"/>
                <a:ext cx="0" cy="390668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992E329F-AF65-62AF-4DDD-F73D6E44F98A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543845" y="4271101"/>
                <a:ext cx="0" cy="390668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47B9B950-963D-5250-12A1-DDA6C212B35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841127" y="4271101"/>
                <a:ext cx="0" cy="390668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30" name="Group 29">
                <a:extLst>
                  <a:ext uri="{FF2B5EF4-FFF2-40B4-BE49-F238E27FC236}">
                    <a16:creationId xmlns:a16="http://schemas.microsoft.com/office/drawing/2014/main" id="{6E35ACDE-11CD-07A1-DFA0-4B3E53AAC345}"/>
                  </a:ext>
                </a:extLst>
              </p:cNvPr>
              <p:cNvGrpSpPr/>
              <p:nvPr/>
            </p:nvGrpSpPr>
            <p:grpSpPr>
              <a:xfrm>
                <a:off x="7811452" y="3500541"/>
                <a:ext cx="1136071" cy="144016"/>
                <a:chOff x="4038600" y="2843369"/>
                <a:chExt cx="1136071" cy="144016"/>
              </a:xfrm>
            </p:grpSpPr>
            <p:sp>
              <p:nvSpPr>
                <p:cNvPr id="31" name="Rounded Rectangle 30">
                  <a:extLst>
                    <a:ext uri="{FF2B5EF4-FFF2-40B4-BE49-F238E27FC236}">
                      <a16:creationId xmlns:a16="http://schemas.microsoft.com/office/drawing/2014/main" id="{CD09D2AC-46EE-BC50-957F-6AEBD1FD7441}"/>
                    </a:ext>
                  </a:extLst>
                </p:cNvPr>
                <p:cNvSpPr/>
                <p:nvPr/>
              </p:nvSpPr>
              <p:spPr>
                <a:xfrm>
                  <a:off x="4038600" y="2843369"/>
                  <a:ext cx="257200" cy="144016"/>
                </a:xfrm>
                <a:prstGeom prst="round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2400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2" name="Rounded Rectangle 31">
                  <a:extLst>
                    <a:ext uri="{FF2B5EF4-FFF2-40B4-BE49-F238E27FC236}">
                      <a16:creationId xmlns:a16="http://schemas.microsoft.com/office/drawing/2014/main" id="{95610660-AE31-4B19-9888-58205A5A22DC}"/>
                    </a:ext>
                  </a:extLst>
                </p:cNvPr>
                <p:cNvSpPr/>
                <p:nvPr/>
              </p:nvSpPr>
              <p:spPr>
                <a:xfrm>
                  <a:off x="4331557" y="2843369"/>
                  <a:ext cx="257200" cy="144016"/>
                </a:xfrm>
                <a:prstGeom prst="round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2400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3" name="Rounded Rectangle 32">
                  <a:extLst>
                    <a:ext uri="{FF2B5EF4-FFF2-40B4-BE49-F238E27FC236}">
                      <a16:creationId xmlns:a16="http://schemas.microsoft.com/office/drawing/2014/main" id="{11DC9AB2-9C2C-C48E-4592-EBD1A3229C09}"/>
                    </a:ext>
                  </a:extLst>
                </p:cNvPr>
                <p:cNvSpPr/>
                <p:nvPr/>
              </p:nvSpPr>
              <p:spPr>
                <a:xfrm>
                  <a:off x="4624514" y="2843369"/>
                  <a:ext cx="257200" cy="144016"/>
                </a:xfrm>
                <a:prstGeom prst="round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2400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4" name="Rounded Rectangle 33">
                  <a:extLst>
                    <a:ext uri="{FF2B5EF4-FFF2-40B4-BE49-F238E27FC236}">
                      <a16:creationId xmlns:a16="http://schemas.microsoft.com/office/drawing/2014/main" id="{16D35092-1CEE-6C09-BFA5-8E6D81ED5B2F}"/>
                    </a:ext>
                  </a:extLst>
                </p:cNvPr>
                <p:cNvSpPr/>
                <p:nvPr/>
              </p:nvSpPr>
              <p:spPr>
                <a:xfrm>
                  <a:off x="4917471" y="2843369"/>
                  <a:ext cx="257200" cy="144016"/>
                </a:xfrm>
                <a:prstGeom prst="round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2400" dirty="0" err="1">
                    <a:solidFill>
                      <a:schemeClr val="tx1"/>
                    </a:solidFill>
                  </a:endParaRPr>
                </a:p>
              </p:txBody>
            </p:sp>
          </p:grpSp>
        </p:grp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A2CE4542-0ABB-C44F-A44F-D0F99E7DAD9C}"/>
                </a:ext>
              </a:extLst>
            </p:cNvPr>
            <p:cNvCxnSpPr>
              <a:cxnSpLocks/>
              <a:stCxn id="51" idx="0"/>
              <a:endCxn id="71" idx="2"/>
            </p:cNvCxnSpPr>
            <p:nvPr/>
          </p:nvCxnSpPr>
          <p:spPr>
            <a:xfrm flipV="1">
              <a:off x="3953877" y="2987385"/>
              <a:ext cx="337513" cy="513156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1604B1F8-F465-0DCF-CE4C-D1FF342539D3}"/>
                </a:ext>
              </a:extLst>
            </p:cNvPr>
            <p:cNvCxnSpPr>
              <a:cxnSpLocks/>
              <a:stCxn id="52" idx="0"/>
              <a:endCxn id="72" idx="2"/>
            </p:cNvCxnSpPr>
            <p:nvPr/>
          </p:nvCxnSpPr>
          <p:spPr>
            <a:xfrm flipV="1">
              <a:off x="4246834" y="2987385"/>
              <a:ext cx="337513" cy="513156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DB63C7A2-1FEB-280F-84AB-2C6B7635CD0C}"/>
                </a:ext>
              </a:extLst>
            </p:cNvPr>
            <p:cNvCxnSpPr>
              <a:cxnSpLocks/>
              <a:stCxn id="33" idx="0"/>
              <a:endCxn id="67" idx="2"/>
            </p:cNvCxnSpPr>
            <p:nvPr/>
          </p:nvCxnSpPr>
          <p:spPr>
            <a:xfrm flipH="1" flipV="1">
              <a:off x="6708800" y="2987385"/>
              <a:ext cx="332310" cy="513156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D10D6A0C-3972-AB95-197E-DD9BC8899D76}"/>
                </a:ext>
              </a:extLst>
            </p:cNvPr>
            <p:cNvCxnSpPr>
              <a:cxnSpLocks/>
              <a:stCxn id="34" idx="0"/>
              <a:endCxn id="68" idx="2"/>
            </p:cNvCxnSpPr>
            <p:nvPr/>
          </p:nvCxnSpPr>
          <p:spPr>
            <a:xfrm flipH="1" flipV="1">
              <a:off x="7001757" y="2987385"/>
              <a:ext cx="332310" cy="513156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75" name="Graphic 74">
            <a:extLst>
              <a:ext uri="{FF2B5EF4-FFF2-40B4-BE49-F238E27FC236}">
                <a16:creationId xmlns:a16="http://schemas.microsoft.com/office/drawing/2014/main" id="{4276D056-0A70-426E-5D87-D3BB3C9F377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721032" y="1754108"/>
            <a:ext cx="763601" cy="763601"/>
          </a:xfrm>
          <a:prstGeom prst="rect">
            <a:avLst/>
          </a:prstGeom>
        </p:spPr>
      </p:pic>
      <p:pic>
        <p:nvPicPr>
          <p:cNvPr id="76" name="Graphic 75">
            <a:extLst>
              <a:ext uri="{FF2B5EF4-FFF2-40B4-BE49-F238E27FC236}">
                <a16:creationId xmlns:a16="http://schemas.microsoft.com/office/drawing/2014/main" id="{0DCADAD7-420E-D9BA-511E-8B34C6EAF4A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233510" y="5145926"/>
            <a:ext cx="763601" cy="763601"/>
          </a:xfrm>
          <a:prstGeom prst="rect">
            <a:avLst/>
          </a:prstGeom>
        </p:spPr>
      </p:pic>
      <p:pic>
        <p:nvPicPr>
          <p:cNvPr id="77" name="Graphic 76">
            <a:extLst>
              <a:ext uri="{FF2B5EF4-FFF2-40B4-BE49-F238E27FC236}">
                <a16:creationId xmlns:a16="http://schemas.microsoft.com/office/drawing/2014/main" id="{0484A658-FEC6-877B-809D-174FC5C474C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182642" y="5145926"/>
            <a:ext cx="763601" cy="763601"/>
          </a:xfrm>
          <a:prstGeom prst="rect">
            <a:avLst/>
          </a:prstGeom>
        </p:spPr>
      </p:pic>
      <p:sp>
        <p:nvSpPr>
          <p:cNvPr id="78" name="Right Arrow 77">
            <a:extLst>
              <a:ext uri="{FF2B5EF4-FFF2-40B4-BE49-F238E27FC236}">
                <a16:creationId xmlns:a16="http://schemas.microsoft.com/office/drawing/2014/main" id="{3FCA46F7-CBFE-7679-2A60-AADA8394520B}"/>
              </a:ext>
            </a:extLst>
          </p:cNvPr>
          <p:cNvSpPr/>
          <p:nvPr/>
        </p:nvSpPr>
        <p:spPr>
          <a:xfrm rot="16200000">
            <a:off x="4425164" y="4875343"/>
            <a:ext cx="360411" cy="240565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tx1"/>
              </a:solidFill>
            </a:endParaRPr>
          </a:p>
        </p:txBody>
      </p:sp>
      <p:sp>
        <p:nvSpPr>
          <p:cNvPr id="79" name="Right Arrow 78">
            <a:extLst>
              <a:ext uri="{FF2B5EF4-FFF2-40B4-BE49-F238E27FC236}">
                <a16:creationId xmlns:a16="http://schemas.microsoft.com/office/drawing/2014/main" id="{EC9AC138-245C-1EE6-0AA8-61D6788D2372}"/>
              </a:ext>
            </a:extLst>
          </p:cNvPr>
          <p:cNvSpPr/>
          <p:nvPr/>
        </p:nvSpPr>
        <p:spPr>
          <a:xfrm rot="16200000">
            <a:off x="7359195" y="4845438"/>
            <a:ext cx="360411" cy="240565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tx1"/>
              </a:solidFill>
            </a:endParaRPr>
          </a:p>
        </p:txBody>
      </p:sp>
      <p:sp>
        <p:nvSpPr>
          <p:cNvPr id="80" name="Right Arrow 79">
            <a:extLst>
              <a:ext uri="{FF2B5EF4-FFF2-40B4-BE49-F238E27FC236}">
                <a16:creationId xmlns:a16="http://schemas.microsoft.com/office/drawing/2014/main" id="{A4E2801E-08A7-E4FF-8AC2-4765006E5C47}"/>
              </a:ext>
            </a:extLst>
          </p:cNvPr>
          <p:cNvSpPr/>
          <p:nvPr/>
        </p:nvSpPr>
        <p:spPr>
          <a:xfrm>
            <a:off x="3497616" y="2004502"/>
            <a:ext cx="360411" cy="240565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tx1"/>
              </a:solidFill>
            </a:endParaRPr>
          </a:p>
        </p:txBody>
      </p:sp>
      <p:sp>
        <p:nvSpPr>
          <p:cNvPr id="81" name="Right Arrow 80">
            <a:extLst>
              <a:ext uri="{FF2B5EF4-FFF2-40B4-BE49-F238E27FC236}">
                <a16:creationId xmlns:a16="http://schemas.microsoft.com/office/drawing/2014/main" id="{0F76A1EF-992D-119C-43BE-4CC60E3AEE67}"/>
              </a:ext>
            </a:extLst>
          </p:cNvPr>
          <p:cNvSpPr/>
          <p:nvPr/>
        </p:nvSpPr>
        <p:spPr>
          <a:xfrm rot="10800000">
            <a:off x="8352297" y="2047715"/>
            <a:ext cx="360411" cy="240565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tx1"/>
              </a:solidFill>
            </a:endParaRPr>
          </a:p>
        </p:txBody>
      </p:sp>
      <p:grpSp>
        <p:nvGrpSpPr>
          <p:cNvPr id="82" name="Group 81">
            <a:extLst>
              <a:ext uri="{FF2B5EF4-FFF2-40B4-BE49-F238E27FC236}">
                <a16:creationId xmlns:a16="http://schemas.microsoft.com/office/drawing/2014/main" id="{20ED6724-0174-3D1D-39C1-795D53C796D4}"/>
              </a:ext>
            </a:extLst>
          </p:cNvPr>
          <p:cNvGrpSpPr>
            <a:grpSpLocks noChangeAspect="1"/>
          </p:cNvGrpSpPr>
          <p:nvPr/>
        </p:nvGrpSpPr>
        <p:grpSpPr>
          <a:xfrm>
            <a:off x="913698" y="1680316"/>
            <a:ext cx="1344415" cy="975360"/>
            <a:chOff x="3157335" y="3890405"/>
            <a:chExt cx="1495602" cy="1085045"/>
          </a:xfrm>
        </p:grpSpPr>
        <p:grpSp>
          <p:nvGrpSpPr>
            <p:cNvPr id="83" name="Group 82">
              <a:extLst>
                <a:ext uri="{FF2B5EF4-FFF2-40B4-BE49-F238E27FC236}">
                  <a16:creationId xmlns:a16="http://schemas.microsoft.com/office/drawing/2014/main" id="{017445FC-0D13-7D54-3EA7-4752ACF17D1A}"/>
                </a:ext>
              </a:extLst>
            </p:cNvPr>
            <p:cNvGrpSpPr/>
            <p:nvPr/>
          </p:nvGrpSpPr>
          <p:grpSpPr>
            <a:xfrm>
              <a:off x="3408080" y="4230350"/>
              <a:ext cx="974579" cy="545475"/>
              <a:chOff x="2668635" y="1593038"/>
              <a:chExt cx="1567802" cy="877504"/>
            </a:xfrm>
          </p:grpSpPr>
          <p:pic>
            <p:nvPicPr>
              <p:cNvPr id="85" name="Graphic 84">
                <a:extLst>
                  <a:ext uri="{FF2B5EF4-FFF2-40B4-BE49-F238E27FC236}">
                    <a16:creationId xmlns:a16="http://schemas.microsoft.com/office/drawing/2014/main" id="{D3931876-9ED1-FBBA-28F5-50AC7299819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2668635" y="2074867"/>
                <a:ext cx="395675" cy="395675"/>
              </a:xfrm>
              <a:prstGeom prst="rect">
                <a:avLst/>
              </a:prstGeom>
            </p:spPr>
          </p:pic>
          <p:pic>
            <p:nvPicPr>
              <p:cNvPr id="86" name="Graphic 85">
                <a:extLst>
                  <a:ext uri="{FF2B5EF4-FFF2-40B4-BE49-F238E27FC236}">
                    <a16:creationId xmlns:a16="http://schemas.microsoft.com/office/drawing/2014/main" id="{8FD98150-C305-42FE-9AEF-32975A6C3A8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3840762" y="2074866"/>
                <a:ext cx="395675" cy="395675"/>
              </a:xfrm>
              <a:prstGeom prst="rect">
                <a:avLst/>
              </a:prstGeom>
            </p:spPr>
          </p:pic>
          <p:pic>
            <p:nvPicPr>
              <p:cNvPr id="87" name="Graphic 86">
                <a:extLst>
                  <a:ext uri="{FF2B5EF4-FFF2-40B4-BE49-F238E27FC236}">
                    <a16:creationId xmlns:a16="http://schemas.microsoft.com/office/drawing/2014/main" id="{10807CA3-2AC8-92CE-D4F9-D3FD7112DAE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3255561" y="2074868"/>
                <a:ext cx="395674" cy="395674"/>
              </a:xfrm>
              <a:prstGeom prst="rect">
                <a:avLst/>
              </a:prstGeom>
            </p:spPr>
          </p:pic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CF733BF8-1BD6-29A5-BDBF-C47C63313526}"/>
                  </a:ext>
                </a:extLst>
              </p:cNvPr>
              <p:cNvCxnSpPr>
                <a:endCxn id="87" idx="1"/>
              </p:cNvCxnSpPr>
              <p:nvPr/>
            </p:nvCxnSpPr>
            <p:spPr>
              <a:xfrm>
                <a:off x="3064310" y="2272704"/>
                <a:ext cx="191251" cy="1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BB3FC5E5-9B84-CC8C-3CB3-0A9A51175D70}"/>
                  </a:ext>
                </a:extLst>
              </p:cNvPr>
              <p:cNvCxnSpPr>
                <a:stCxn id="87" idx="3"/>
                <a:endCxn id="86" idx="1"/>
              </p:cNvCxnSpPr>
              <p:nvPr/>
            </p:nvCxnSpPr>
            <p:spPr>
              <a:xfrm flipV="1">
                <a:off x="3651235" y="2272704"/>
                <a:ext cx="189527" cy="1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90" name="Graphic 89">
                <a:extLst>
                  <a:ext uri="{FF2B5EF4-FFF2-40B4-BE49-F238E27FC236}">
                    <a16:creationId xmlns:a16="http://schemas.microsoft.com/office/drawing/2014/main" id="{08026012-1113-792E-699F-BDD36A9DADB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3255561" y="1593038"/>
                <a:ext cx="395675" cy="395675"/>
              </a:xfrm>
              <a:prstGeom prst="rect">
                <a:avLst/>
              </a:prstGeom>
            </p:spPr>
          </p:pic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C7F72726-463C-C866-3B5C-5973E9C929B4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988044" y="1924570"/>
                <a:ext cx="304788" cy="209030"/>
              </a:xfrm>
              <a:prstGeom prst="line">
                <a:avLst/>
              </a:prstGeom>
              <a:ln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015D298B-D9A3-B259-DB49-96D01D89035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12240" y="1897910"/>
                <a:ext cx="273960" cy="235690"/>
              </a:xfrm>
              <a:prstGeom prst="line">
                <a:avLst/>
              </a:prstGeom>
              <a:ln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84" name="Graphic 33">
              <a:extLst>
                <a:ext uri="{FF2B5EF4-FFF2-40B4-BE49-F238E27FC236}">
                  <a16:creationId xmlns:a16="http://schemas.microsoft.com/office/drawing/2014/main" id="{3F44F81D-C6EA-7A9F-1837-38EEEB27B851}"/>
                </a:ext>
              </a:extLst>
            </p:cNvPr>
            <p:cNvSpPr/>
            <p:nvPr/>
          </p:nvSpPr>
          <p:spPr>
            <a:xfrm>
              <a:off x="3157335" y="3890405"/>
              <a:ext cx="1495602" cy="1085045"/>
            </a:xfrm>
            <a:custGeom>
              <a:avLst/>
              <a:gdLst>
                <a:gd name="connsiteX0" fmla="*/ 779429 w 971550"/>
                <a:gd name="connsiteY0" fmla="*/ 705290 h 704850"/>
                <a:gd name="connsiteX1" fmla="*/ 242409 w 971550"/>
                <a:gd name="connsiteY1" fmla="*/ 705290 h 704850"/>
                <a:gd name="connsiteX2" fmla="*/ 92200 w 971550"/>
                <a:gd name="connsiteY2" fmla="*/ 651283 h 704850"/>
                <a:gd name="connsiteX3" fmla="*/ 8475 w 971550"/>
                <a:gd name="connsiteY3" fmla="*/ 441733 h 704850"/>
                <a:gd name="connsiteX4" fmla="*/ 206024 w 971550"/>
                <a:gd name="connsiteY4" fmla="*/ 236755 h 704850"/>
                <a:gd name="connsiteX5" fmla="*/ 207167 w 971550"/>
                <a:gd name="connsiteY5" fmla="*/ 235612 h 704850"/>
                <a:gd name="connsiteX6" fmla="*/ 302417 w 971550"/>
                <a:gd name="connsiteY6" fmla="*/ 74640 h 704850"/>
                <a:gd name="connsiteX7" fmla="*/ 486916 w 971550"/>
                <a:gd name="connsiteY7" fmla="*/ 7203 h 704850"/>
                <a:gd name="connsiteX8" fmla="*/ 686941 w 971550"/>
                <a:gd name="connsiteY8" fmla="*/ 89308 h 704850"/>
                <a:gd name="connsiteX9" fmla="*/ 771523 w 971550"/>
                <a:gd name="connsiteY9" fmla="*/ 288762 h 704850"/>
                <a:gd name="connsiteX10" fmla="*/ 771523 w 971550"/>
                <a:gd name="connsiteY10" fmla="*/ 328672 h 704850"/>
                <a:gd name="connsiteX11" fmla="*/ 772380 w 971550"/>
                <a:gd name="connsiteY11" fmla="*/ 329719 h 704850"/>
                <a:gd name="connsiteX12" fmla="*/ 807242 w 971550"/>
                <a:gd name="connsiteY12" fmla="*/ 334672 h 704850"/>
                <a:gd name="connsiteX13" fmla="*/ 913445 w 971550"/>
                <a:gd name="connsiteY13" fmla="*/ 388774 h 704850"/>
                <a:gd name="connsiteX14" fmla="*/ 911151 w 971550"/>
                <a:gd name="connsiteY14" fmla="*/ 652245 h 704850"/>
                <a:gd name="connsiteX15" fmla="*/ 780095 w 971550"/>
                <a:gd name="connsiteY15" fmla="*/ 705671 h 704850"/>
                <a:gd name="connsiteX16" fmla="*/ 486535 w 971550"/>
                <a:gd name="connsiteY16" fmla="*/ 54447 h 704850"/>
                <a:gd name="connsiteX17" fmla="*/ 334135 w 971550"/>
                <a:gd name="connsiteY17" fmla="*/ 109025 h 704850"/>
                <a:gd name="connsiteX18" fmla="*/ 252315 w 971550"/>
                <a:gd name="connsiteY18" fmla="*/ 248757 h 704850"/>
                <a:gd name="connsiteX19" fmla="*/ 218216 w 971550"/>
                <a:gd name="connsiteY19" fmla="*/ 282285 h 704850"/>
                <a:gd name="connsiteX20" fmla="*/ 55433 w 971550"/>
                <a:gd name="connsiteY20" fmla="*/ 446115 h 704850"/>
                <a:gd name="connsiteX21" fmla="*/ 122108 w 971550"/>
                <a:gd name="connsiteY21" fmla="*/ 614898 h 704850"/>
                <a:gd name="connsiteX22" fmla="*/ 241647 w 971550"/>
                <a:gd name="connsiteY22" fmla="*/ 657665 h 704850"/>
                <a:gd name="connsiteX23" fmla="*/ 778667 w 971550"/>
                <a:gd name="connsiteY23" fmla="*/ 657665 h 704850"/>
                <a:gd name="connsiteX24" fmla="*/ 917537 w 971550"/>
                <a:gd name="connsiteY24" fmla="*/ 519168 h 704850"/>
                <a:gd name="connsiteX25" fmla="*/ 877631 w 971550"/>
                <a:gd name="connsiteY25" fmla="*/ 421636 h 704850"/>
                <a:gd name="connsiteX26" fmla="*/ 798574 w 971550"/>
                <a:gd name="connsiteY26" fmla="*/ 381440 h 704850"/>
                <a:gd name="connsiteX27" fmla="*/ 763903 w 971550"/>
                <a:gd name="connsiteY27" fmla="*/ 376487 h 704850"/>
                <a:gd name="connsiteX28" fmla="*/ 722183 w 971550"/>
                <a:gd name="connsiteY28" fmla="*/ 326862 h 704850"/>
                <a:gd name="connsiteX29" fmla="*/ 722183 w 971550"/>
                <a:gd name="connsiteY29" fmla="*/ 290191 h 704850"/>
                <a:gd name="connsiteX30" fmla="*/ 651317 w 971550"/>
                <a:gd name="connsiteY30" fmla="*/ 122360 h 704850"/>
                <a:gd name="connsiteX31" fmla="*/ 486535 w 971550"/>
                <a:gd name="connsiteY31" fmla="*/ 54447 h 704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971550" h="704850">
                  <a:moveTo>
                    <a:pt x="779429" y="705290"/>
                  </a:moveTo>
                  <a:lnTo>
                    <a:pt x="242409" y="705290"/>
                  </a:lnTo>
                  <a:cubicBezTo>
                    <a:pt x="187442" y="706129"/>
                    <a:pt x="134048" y="686932"/>
                    <a:pt x="92200" y="651283"/>
                  </a:cubicBezTo>
                  <a:cubicBezTo>
                    <a:pt x="31445" y="599513"/>
                    <a:pt x="121" y="521116"/>
                    <a:pt x="8475" y="441733"/>
                  </a:cubicBezTo>
                  <a:cubicBezTo>
                    <a:pt x="18857" y="339149"/>
                    <a:pt x="85342" y="270283"/>
                    <a:pt x="206024" y="236755"/>
                  </a:cubicBezTo>
                  <a:cubicBezTo>
                    <a:pt x="206572" y="236589"/>
                    <a:pt x="207000" y="236160"/>
                    <a:pt x="207167" y="235612"/>
                  </a:cubicBezTo>
                  <a:cubicBezTo>
                    <a:pt x="223895" y="174379"/>
                    <a:pt x="256796" y="118777"/>
                    <a:pt x="302417" y="74640"/>
                  </a:cubicBezTo>
                  <a:cubicBezTo>
                    <a:pt x="350042" y="29872"/>
                    <a:pt x="412240" y="7203"/>
                    <a:pt x="486916" y="7203"/>
                  </a:cubicBezTo>
                  <a:cubicBezTo>
                    <a:pt x="562095" y="5634"/>
                    <a:pt x="634545" y="35373"/>
                    <a:pt x="686941" y="89308"/>
                  </a:cubicBezTo>
                  <a:cubicBezTo>
                    <a:pt x="739974" y="142281"/>
                    <a:pt x="770309" y="213814"/>
                    <a:pt x="771523" y="288762"/>
                  </a:cubicBezTo>
                  <a:cubicBezTo>
                    <a:pt x="771523" y="298858"/>
                    <a:pt x="771523" y="312003"/>
                    <a:pt x="771523" y="328672"/>
                  </a:cubicBezTo>
                  <a:cubicBezTo>
                    <a:pt x="771549" y="329171"/>
                    <a:pt x="771896" y="329595"/>
                    <a:pt x="772380" y="329719"/>
                  </a:cubicBezTo>
                  <a:lnTo>
                    <a:pt x="807242" y="334672"/>
                  </a:lnTo>
                  <a:cubicBezTo>
                    <a:pt x="847678" y="340383"/>
                    <a:pt x="885053" y="359422"/>
                    <a:pt x="913445" y="388774"/>
                  </a:cubicBezTo>
                  <a:cubicBezTo>
                    <a:pt x="985567" y="462163"/>
                    <a:pt x="984540" y="580123"/>
                    <a:pt x="911151" y="652245"/>
                  </a:cubicBezTo>
                  <a:cubicBezTo>
                    <a:pt x="876194" y="686599"/>
                    <a:pt x="829107" y="705794"/>
                    <a:pt x="780095" y="705671"/>
                  </a:cubicBezTo>
                  <a:close/>
                  <a:moveTo>
                    <a:pt x="486535" y="54447"/>
                  </a:moveTo>
                  <a:cubicBezTo>
                    <a:pt x="423479" y="54447"/>
                    <a:pt x="373854" y="72259"/>
                    <a:pt x="334135" y="109025"/>
                  </a:cubicBezTo>
                  <a:cubicBezTo>
                    <a:pt x="294863" y="147452"/>
                    <a:pt x="266609" y="195704"/>
                    <a:pt x="252315" y="248757"/>
                  </a:cubicBezTo>
                  <a:cubicBezTo>
                    <a:pt x="247519" y="265082"/>
                    <a:pt x="234619" y="277765"/>
                    <a:pt x="218216" y="282285"/>
                  </a:cubicBezTo>
                  <a:cubicBezTo>
                    <a:pt x="116965" y="310860"/>
                    <a:pt x="63720" y="363914"/>
                    <a:pt x="55433" y="446115"/>
                  </a:cubicBezTo>
                  <a:cubicBezTo>
                    <a:pt x="48390" y="509939"/>
                    <a:pt x="73348" y="573118"/>
                    <a:pt x="122108" y="614898"/>
                  </a:cubicBezTo>
                  <a:cubicBezTo>
                    <a:pt x="155335" y="643376"/>
                    <a:pt x="197896" y="658603"/>
                    <a:pt x="241647" y="657665"/>
                  </a:cubicBezTo>
                  <a:lnTo>
                    <a:pt x="778667" y="657665"/>
                  </a:lnTo>
                  <a:cubicBezTo>
                    <a:pt x="855260" y="657768"/>
                    <a:pt x="917434" y="595761"/>
                    <a:pt x="917537" y="519168"/>
                  </a:cubicBezTo>
                  <a:cubicBezTo>
                    <a:pt x="917586" y="482673"/>
                    <a:pt x="903248" y="447629"/>
                    <a:pt x="877631" y="421636"/>
                  </a:cubicBezTo>
                  <a:cubicBezTo>
                    <a:pt x="856559" y="399714"/>
                    <a:pt x="828702" y="385551"/>
                    <a:pt x="798574" y="381440"/>
                  </a:cubicBezTo>
                  <a:lnTo>
                    <a:pt x="763903" y="376487"/>
                  </a:lnTo>
                  <a:cubicBezTo>
                    <a:pt x="739422" y="372921"/>
                    <a:pt x="721490" y="351591"/>
                    <a:pt x="722183" y="326862"/>
                  </a:cubicBezTo>
                  <a:cubicBezTo>
                    <a:pt x="722183" y="311622"/>
                    <a:pt x="722183" y="299239"/>
                    <a:pt x="722183" y="290191"/>
                  </a:cubicBezTo>
                  <a:cubicBezTo>
                    <a:pt x="721586" y="227097"/>
                    <a:pt x="696120" y="166788"/>
                    <a:pt x="651317" y="122360"/>
                  </a:cubicBezTo>
                  <a:cubicBezTo>
                    <a:pt x="608305" y="77673"/>
                    <a:pt x="548543" y="53042"/>
                    <a:pt x="486535" y="54447"/>
                  </a:cubicBezTo>
                  <a:close/>
                </a:path>
              </a:pathLst>
            </a:custGeom>
            <a:noFill/>
            <a:ln w="9525" cap="flat">
              <a:solidFill>
                <a:schemeClr val="tx1"/>
              </a:solidFill>
              <a:prstDash val="dash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93" name="Group 92">
            <a:extLst>
              <a:ext uri="{FF2B5EF4-FFF2-40B4-BE49-F238E27FC236}">
                <a16:creationId xmlns:a16="http://schemas.microsoft.com/office/drawing/2014/main" id="{E6480326-3673-6627-097F-68D64CBC938E}"/>
              </a:ext>
            </a:extLst>
          </p:cNvPr>
          <p:cNvGrpSpPr>
            <a:grpSpLocks noChangeAspect="1"/>
          </p:cNvGrpSpPr>
          <p:nvPr/>
        </p:nvGrpSpPr>
        <p:grpSpPr>
          <a:xfrm>
            <a:off x="9826085" y="1608764"/>
            <a:ext cx="1344415" cy="975360"/>
            <a:chOff x="3157335" y="3890405"/>
            <a:chExt cx="1495602" cy="1085045"/>
          </a:xfrm>
        </p:grpSpPr>
        <p:grpSp>
          <p:nvGrpSpPr>
            <p:cNvPr id="94" name="Group 93">
              <a:extLst>
                <a:ext uri="{FF2B5EF4-FFF2-40B4-BE49-F238E27FC236}">
                  <a16:creationId xmlns:a16="http://schemas.microsoft.com/office/drawing/2014/main" id="{FD9401EE-C053-4005-11EC-73F1255B1DB9}"/>
                </a:ext>
              </a:extLst>
            </p:cNvPr>
            <p:cNvGrpSpPr/>
            <p:nvPr/>
          </p:nvGrpSpPr>
          <p:grpSpPr>
            <a:xfrm>
              <a:off x="3408080" y="4230350"/>
              <a:ext cx="974579" cy="545475"/>
              <a:chOff x="2668635" y="1593038"/>
              <a:chExt cx="1567802" cy="877504"/>
            </a:xfrm>
          </p:grpSpPr>
          <p:pic>
            <p:nvPicPr>
              <p:cNvPr id="96" name="Graphic 95">
                <a:extLst>
                  <a:ext uri="{FF2B5EF4-FFF2-40B4-BE49-F238E27FC236}">
                    <a16:creationId xmlns:a16="http://schemas.microsoft.com/office/drawing/2014/main" id="{36734C8B-2AD1-B571-1F10-C6727B40260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2668635" y="2074867"/>
                <a:ext cx="395675" cy="395675"/>
              </a:xfrm>
              <a:prstGeom prst="rect">
                <a:avLst/>
              </a:prstGeom>
            </p:spPr>
          </p:pic>
          <p:pic>
            <p:nvPicPr>
              <p:cNvPr id="97" name="Graphic 96">
                <a:extLst>
                  <a:ext uri="{FF2B5EF4-FFF2-40B4-BE49-F238E27FC236}">
                    <a16:creationId xmlns:a16="http://schemas.microsoft.com/office/drawing/2014/main" id="{8E6BEB25-BEA3-473E-D552-C5E50AD9E55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3840762" y="2074866"/>
                <a:ext cx="395675" cy="395675"/>
              </a:xfrm>
              <a:prstGeom prst="rect">
                <a:avLst/>
              </a:prstGeom>
            </p:spPr>
          </p:pic>
          <p:pic>
            <p:nvPicPr>
              <p:cNvPr id="98" name="Graphic 97">
                <a:extLst>
                  <a:ext uri="{FF2B5EF4-FFF2-40B4-BE49-F238E27FC236}">
                    <a16:creationId xmlns:a16="http://schemas.microsoft.com/office/drawing/2014/main" id="{6EE391F2-2BA3-E7A8-320A-1C93FA282EC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3255561" y="2074868"/>
                <a:ext cx="395674" cy="395674"/>
              </a:xfrm>
              <a:prstGeom prst="rect">
                <a:avLst/>
              </a:prstGeom>
            </p:spPr>
          </p:pic>
          <p:cxnSp>
            <p:nvCxnSpPr>
              <p:cNvPr id="99" name="Straight Connector 98">
                <a:extLst>
                  <a:ext uri="{FF2B5EF4-FFF2-40B4-BE49-F238E27FC236}">
                    <a16:creationId xmlns:a16="http://schemas.microsoft.com/office/drawing/2014/main" id="{0883B2FB-E9B9-1A80-2851-DBD24EE742C5}"/>
                  </a:ext>
                </a:extLst>
              </p:cNvPr>
              <p:cNvCxnSpPr>
                <a:endCxn id="98" idx="1"/>
              </p:cNvCxnSpPr>
              <p:nvPr/>
            </p:nvCxnSpPr>
            <p:spPr>
              <a:xfrm>
                <a:off x="3064310" y="2272704"/>
                <a:ext cx="191251" cy="1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>
                <a:extLst>
                  <a:ext uri="{FF2B5EF4-FFF2-40B4-BE49-F238E27FC236}">
                    <a16:creationId xmlns:a16="http://schemas.microsoft.com/office/drawing/2014/main" id="{F18E2CFB-D642-DD9D-7E3E-4029A2B7A578}"/>
                  </a:ext>
                </a:extLst>
              </p:cNvPr>
              <p:cNvCxnSpPr>
                <a:stCxn id="98" idx="3"/>
                <a:endCxn id="97" idx="1"/>
              </p:cNvCxnSpPr>
              <p:nvPr/>
            </p:nvCxnSpPr>
            <p:spPr>
              <a:xfrm flipV="1">
                <a:off x="3651235" y="2272704"/>
                <a:ext cx="189527" cy="1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101" name="Graphic 100">
                <a:extLst>
                  <a:ext uri="{FF2B5EF4-FFF2-40B4-BE49-F238E27FC236}">
                    <a16:creationId xmlns:a16="http://schemas.microsoft.com/office/drawing/2014/main" id="{8B993B14-1A4B-23CE-0226-D15382E706F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3255561" y="1593038"/>
                <a:ext cx="395675" cy="395675"/>
              </a:xfrm>
              <a:prstGeom prst="rect">
                <a:avLst/>
              </a:prstGeom>
            </p:spPr>
          </p:pic>
          <p:cxnSp>
            <p:nvCxnSpPr>
              <p:cNvPr id="104" name="Straight Connector 103">
                <a:extLst>
                  <a:ext uri="{FF2B5EF4-FFF2-40B4-BE49-F238E27FC236}">
                    <a16:creationId xmlns:a16="http://schemas.microsoft.com/office/drawing/2014/main" id="{68B563CA-D0D3-09F9-5288-6545F48272B5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988044" y="1924570"/>
                <a:ext cx="304788" cy="209030"/>
              </a:xfrm>
              <a:prstGeom prst="line">
                <a:avLst/>
              </a:prstGeom>
              <a:ln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Straight Connector 104">
                <a:extLst>
                  <a:ext uri="{FF2B5EF4-FFF2-40B4-BE49-F238E27FC236}">
                    <a16:creationId xmlns:a16="http://schemas.microsoft.com/office/drawing/2014/main" id="{950D5982-C6AB-A044-DE92-65F10B8A960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12240" y="1897910"/>
                <a:ext cx="273960" cy="235690"/>
              </a:xfrm>
              <a:prstGeom prst="line">
                <a:avLst/>
              </a:prstGeom>
              <a:ln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95" name="Graphic 33">
              <a:extLst>
                <a:ext uri="{FF2B5EF4-FFF2-40B4-BE49-F238E27FC236}">
                  <a16:creationId xmlns:a16="http://schemas.microsoft.com/office/drawing/2014/main" id="{39040300-C62F-1833-E589-14721C90FC7C}"/>
                </a:ext>
              </a:extLst>
            </p:cNvPr>
            <p:cNvSpPr/>
            <p:nvPr/>
          </p:nvSpPr>
          <p:spPr>
            <a:xfrm>
              <a:off x="3157335" y="3890405"/>
              <a:ext cx="1495602" cy="1085045"/>
            </a:xfrm>
            <a:custGeom>
              <a:avLst/>
              <a:gdLst>
                <a:gd name="connsiteX0" fmla="*/ 779429 w 971550"/>
                <a:gd name="connsiteY0" fmla="*/ 705290 h 704850"/>
                <a:gd name="connsiteX1" fmla="*/ 242409 w 971550"/>
                <a:gd name="connsiteY1" fmla="*/ 705290 h 704850"/>
                <a:gd name="connsiteX2" fmla="*/ 92200 w 971550"/>
                <a:gd name="connsiteY2" fmla="*/ 651283 h 704850"/>
                <a:gd name="connsiteX3" fmla="*/ 8475 w 971550"/>
                <a:gd name="connsiteY3" fmla="*/ 441733 h 704850"/>
                <a:gd name="connsiteX4" fmla="*/ 206024 w 971550"/>
                <a:gd name="connsiteY4" fmla="*/ 236755 h 704850"/>
                <a:gd name="connsiteX5" fmla="*/ 207167 w 971550"/>
                <a:gd name="connsiteY5" fmla="*/ 235612 h 704850"/>
                <a:gd name="connsiteX6" fmla="*/ 302417 w 971550"/>
                <a:gd name="connsiteY6" fmla="*/ 74640 h 704850"/>
                <a:gd name="connsiteX7" fmla="*/ 486916 w 971550"/>
                <a:gd name="connsiteY7" fmla="*/ 7203 h 704850"/>
                <a:gd name="connsiteX8" fmla="*/ 686941 w 971550"/>
                <a:gd name="connsiteY8" fmla="*/ 89308 h 704850"/>
                <a:gd name="connsiteX9" fmla="*/ 771523 w 971550"/>
                <a:gd name="connsiteY9" fmla="*/ 288762 h 704850"/>
                <a:gd name="connsiteX10" fmla="*/ 771523 w 971550"/>
                <a:gd name="connsiteY10" fmla="*/ 328672 h 704850"/>
                <a:gd name="connsiteX11" fmla="*/ 772380 w 971550"/>
                <a:gd name="connsiteY11" fmla="*/ 329719 h 704850"/>
                <a:gd name="connsiteX12" fmla="*/ 807242 w 971550"/>
                <a:gd name="connsiteY12" fmla="*/ 334672 h 704850"/>
                <a:gd name="connsiteX13" fmla="*/ 913445 w 971550"/>
                <a:gd name="connsiteY13" fmla="*/ 388774 h 704850"/>
                <a:gd name="connsiteX14" fmla="*/ 911151 w 971550"/>
                <a:gd name="connsiteY14" fmla="*/ 652245 h 704850"/>
                <a:gd name="connsiteX15" fmla="*/ 780095 w 971550"/>
                <a:gd name="connsiteY15" fmla="*/ 705671 h 704850"/>
                <a:gd name="connsiteX16" fmla="*/ 486535 w 971550"/>
                <a:gd name="connsiteY16" fmla="*/ 54447 h 704850"/>
                <a:gd name="connsiteX17" fmla="*/ 334135 w 971550"/>
                <a:gd name="connsiteY17" fmla="*/ 109025 h 704850"/>
                <a:gd name="connsiteX18" fmla="*/ 252315 w 971550"/>
                <a:gd name="connsiteY18" fmla="*/ 248757 h 704850"/>
                <a:gd name="connsiteX19" fmla="*/ 218216 w 971550"/>
                <a:gd name="connsiteY19" fmla="*/ 282285 h 704850"/>
                <a:gd name="connsiteX20" fmla="*/ 55433 w 971550"/>
                <a:gd name="connsiteY20" fmla="*/ 446115 h 704850"/>
                <a:gd name="connsiteX21" fmla="*/ 122108 w 971550"/>
                <a:gd name="connsiteY21" fmla="*/ 614898 h 704850"/>
                <a:gd name="connsiteX22" fmla="*/ 241647 w 971550"/>
                <a:gd name="connsiteY22" fmla="*/ 657665 h 704850"/>
                <a:gd name="connsiteX23" fmla="*/ 778667 w 971550"/>
                <a:gd name="connsiteY23" fmla="*/ 657665 h 704850"/>
                <a:gd name="connsiteX24" fmla="*/ 917537 w 971550"/>
                <a:gd name="connsiteY24" fmla="*/ 519168 h 704850"/>
                <a:gd name="connsiteX25" fmla="*/ 877631 w 971550"/>
                <a:gd name="connsiteY25" fmla="*/ 421636 h 704850"/>
                <a:gd name="connsiteX26" fmla="*/ 798574 w 971550"/>
                <a:gd name="connsiteY26" fmla="*/ 381440 h 704850"/>
                <a:gd name="connsiteX27" fmla="*/ 763903 w 971550"/>
                <a:gd name="connsiteY27" fmla="*/ 376487 h 704850"/>
                <a:gd name="connsiteX28" fmla="*/ 722183 w 971550"/>
                <a:gd name="connsiteY28" fmla="*/ 326862 h 704850"/>
                <a:gd name="connsiteX29" fmla="*/ 722183 w 971550"/>
                <a:gd name="connsiteY29" fmla="*/ 290191 h 704850"/>
                <a:gd name="connsiteX30" fmla="*/ 651317 w 971550"/>
                <a:gd name="connsiteY30" fmla="*/ 122360 h 704850"/>
                <a:gd name="connsiteX31" fmla="*/ 486535 w 971550"/>
                <a:gd name="connsiteY31" fmla="*/ 54447 h 704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971550" h="704850">
                  <a:moveTo>
                    <a:pt x="779429" y="705290"/>
                  </a:moveTo>
                  <a:lnTo>
                    <a:pt x="242409" y="705290"/>
                  </a:lnTo>
                  <a:cubicBezTo>
                    <a:pt x="187442" y="706129"/>
                    <a:pt x="134048" y="686932"/>
                    <a:pt x="92200" y="651283"/>
                  </a:cubicBezTo>
                  <a:cubicBezTo>
                    <a:pt x="31445" y="599513"/>
                    <a:pt x="121" y="521116"/>
                    <a:pt x="8475" y="441733"/>
                  </a:cubicBezTo>
                  <a:cubicBezTo>
                    <a:pt x="18857" y="339149"/>
                    <a:pt x="85342" y="270283"/>
                    <a:pt x="206024" y="236755"/>
                  </a:cubicBezTo>
                  <a:cubicBezTo>
                    <a:pt x="206572" y="236589"/>
                    <a:pt x="207000" y="236160"/>
                    <a:pt x="207167" y="235612"/>
                  </a:cubicBezTo>
                  <a:cubicBezTo>
                    <a:pt x="223895" y="174379"/>
                    <a:pt x="256796" y="118777"/>
                    <a:pt x="302417" y="74640"/>
                  </a:cubicBezTo>
                  <a:cubicBezTo>
                    <a:pt x="350042" y="29872"/>
                    <a:pt x="412240" y="7203"/>
                    <a:pt x="486916" y="7203"/>
                  </a:cubicBezTo>
                  <a:cubicBezTo>
                    <a:pt x="562095" y="5634"/>
                    <a:pt x="634545" y="35373"/>
                    <a:pt x="686941" y="89308"/>
                  </a:cubicBezTo>
                  <a:cubicBezTo>
                    <a:pt x="739974" y="142281"/>
                    <a:pt x="770309" y="213814"/>
                    <a:pt x="771523" y="288762"/>
                  </a:cubicBezTo>
                  <a:cubicBezTo>
                    <a:pt x="771523" y="298858"/>
                    <a:pt x="771523" y="312003"/>
                    <a:pt x="771523" y="328672"/>
                  </a:cubicBezTo>
                  <a:cubicBezTo>
                    <a:pt x="771549" y="329171"/>
                    <a:pt x="771896" y="329595"/>
                    <a:pt x="772380" y="329719"/>
                  </a:cubicBezTo>
                  <a:lnTo>
                    <a:pt x="807242" y="334672"/>
                  </a:lnTo>
                  <a:cubicBezTo>
                    <a:pt x="847678" y="340383"/>
                    <a:pt x="885053" y="359422"/>
                    <a:pt x="913445" y="388774"/>
                  </a:cubicBezTo>
                  <a:cubicBezTo>
                    <a:pt x="985567" y="462163"/>
                    <a:pt x="984540" y="580123"/>
                    <a:pt x="911151" y="652245"/>
                  </a:cubicBezTo>
                  <a:cubicBezTo>
                    <a:pt x="876194" y="686599"/>
                    <a:pt x="829107" y="705794"/>
                    <a:pt x="780095" y="705671"/>
                  </a:cubicBezTo>
                  <a:close/>
                  <a:moveTo>
                    <a:pt x="486535" y="54447"/>
                  </a:moveTo>
                  <a:cubicBezTo>
                    <a:pt x="423479" y="54447"/>
                    <a:pt x="373854" y="72259"/>
                    <a:pt x="334135" y="109025"/>
                  </a:cubicBezTo>
                  <a:cubicBezTo>
                    <a:pt x="294863" y="147452"/>
                    <a:pt x="266609" y="195704"/>
                    <a:pt x="252315" y="248757"/>
                  </a:cubicBezTo>
                  <a:cubicBezTo>
                    <a:pt x="247519" y="265082"/>
                    <a:pt x="234619" y="277765"/>
                    <a:pt x="218216" y="282285"/>
                  </a:cubicBezTo>
                  <a:cubicBezTo>
                    <a:pt x="116965" y="310860"/>
                    <a:pt x="63720" y="363914"/>
                    <a:pt x="55433" y="446115"/>
                  </a:cubicBezTo>
                  <a:cubicBezTo>
                    <a:pt x="48390" y="509939"/>
                    <a:pt x="73348" y="573118"/>
                    <a:pt x="122108" y="614898"/>
                  </a:cubicBezTo>
                  <a:cubicBezTo>
                    <a:pt x="155335" y="643376"/>
                    <a:pt x="197896" y="658603"/>
                    <a:pt x="241647" y="657665"/>
                  </a:cubicBezTo>
                  <a:lnTo>
                    <a:pt x="778667" y="657665"/>
                  </a:lnTo>
                  <a:cubicBezTo>
                    <a:pt x="855260" y="657768"/>
                    <a:pt x="917434" y="595761"/>
                    <a:pt x="917537" y="519168"/>
                  </a:cubicBezTo>
                  <a:cubicBezTo>
                    <a:pt x="917586" y="482673"/>
                    <a:pt x="903248" y="447629"/>
                    <a:pt x="877631" y="421636"/>
                  </a:cubicBezTo>
                  <a:cubicBezTo>
                    <a:pt x="856559" y="399714"/>
                    <a:pt x="828702" y="385551"/>
                    <a:pt x="798574" y="381440"/>
                  </a:cubicBezTo>
                  <a:lnTo>
                    <a:pt x="763903" y="376487"/>
                  </a:lnTo>
                  <a:cubicBezTo>
                    <a:pt x="739422" y="372921"/>
                    <a:pt x="721490" y="351591"/>
                    <a:pt x="722183" y="326862"/>
                  </a:cubicBezTo>
                  <a:cubicBezTo>
                    <a:pt x="722183" y="311622"/>
                    <a:pt x="722183" y="299239"/>
                    <a:pt x="722183" y="290191"/>
                  </a:cubicBezTo>
                  <a:cubicBezTo>
                    <a:pt x="721586" y="227097"/>
                    <a:pt x="696120" y="166788"/>
                    <a:pt x="651317" y="122360"/>
                  </a:cubicBezTo>
                  <a:cubicBezTo>
                    <a:pt x="608305" y="77673"/>
                    <a:pt x="548543" y="53042"/>
                    <a:pt x="486535" y="54447"/>
                  </a:cubicBezTo>
                  <a:close/>
                </a:path>
              </a:pathLst>
            </a:custGeom>
            <a:noFill/>
            <a:ln w="9525" cap="flat">
              <a:solidFill>
                <a:schemeClr val="tx1"/>
              </a:solidFill>
              <a:prstDash val="dash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0D22F5F4-4BE6-7CE4-534C-0E59FB576EE2}"/>
              </a:ext>
            </a:extLst>
          </p:cNvPr>
          <p:cNvGrpSpPr>
            <a:grpSpLocks noChangeAspect="1"/>
          </p:cNvGrpSpPr>
          <p:nvPr/>
        </p:nvGrpSpPr>
        <p:grpSpPr>
          <a:xfrm>
            <a:off x="2090557" y="4934167"/>
            <a:ext cx="1344415" cy="975360"/>
            <a:chOff x="3157335" y="3890405"/>
            <a:chExt cx="1495602" cy="1085045"/>
          </a:xfrm>
        </p:grpSpPr>
        <p:grpSp>
          <p:nvGrpSpPr>
            <p:cNvPr id="107" name="Group 106">
              <a:extLst>
                <a:ext uri="{FF2B5EF4-FFF2-40B4-BE49-F238E27FC236}">
                  <a16:creationId xmlns:a16="http://schemas.microsoft.com/office/drawing/2014/main" id="{B3705B4A-079C-E840-3B84-7D6B7937CD37}"/>
                </a:ext>
              </a:extLst>
            </p:cNvPr>
            <p:cNvGrpSpPr/>
            <p:nvPr/>
          </p:nvGrpSpPr>
          <p:grpSpPr>
            <a:xfrm>
              <a:off x="3408080" y="4230350"/>
              <a:ext cx="974579" cy="545475"/>
              <a:chOff x="2668635" y="1593038"/>
              <a:chExt cx="1567802" cy="877504"/>
            </a:xfrm>
          </p:grpSpPr>
          <p:pic>
            <p:nvPicPr>
              <p:cNvPr id="109" name="Graphic 108">
                <a:extLst>
                  <a:ext uri="{FF2B5EF4-FFF2-40B4-BE49-F238E27FC236}">
                    <a16:creationId xmlns:a16="http://schemas.microsoft.com/office/drawing/2014/main" id="{13E2E360-7702-E680-5FC6-D141AAE31A8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2668635" y="2074867"/>
                <a:ext cx="395675" cy="395675"/>
              </a:xfrm>
              <a:prstGeom prst="rect">
                <a:avLst/>
              </a:prstGeom>
            </p:spPr>
          </p:pic>
          <p:pic>
            <p:nvPicPr>
              <p:cNvPr id="110" name="Graphic 109">
                <a:extLst>
                  <a:ext uri="{FF2B5EF4-FFF2-40B4-BE49-F238E27FC236}">
                    <a16:creationId xmlns:a16="http://schemas.microsoft.com/office/drawing/2014/main" id="{E13FBC7E-393B-B380-DC89-00790669349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3840762" y="2074866"/>
                <a:ext cx="395675" cy="395675"/>
              </a:xfrm>
              <a:prstGeom prst="rect">
                <a:avLst/>
              </a:prstGeom>
            </p:spPr>
          </p:pic>
          <p:pic>
            <p:nvPicPr>
              <p:cNvPr id="111" name="Graphic 110">
                <a:extLst>
                  <a:ext uri="{FF2B5EF4-FFF2-40B4-BE49-F238E27FC236}">
                    <a16:creationId xmlns:a16="http://schemas.microsoft.com/office/drawing/2014/main" id="{29100700-864D-7533-ECB4-11BA70BCD0A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3255561" y="2074868"/>
                <a:ext cx="395674" cy="395674"/>
              </a:xfrm>
              <a:prstGeom prst="rect">
                <a:avLst/>
              </a:prstGeom>
            </p:spPr>
          </p:pic>
          <p:cxnSp>
            <p:nvCxnSpPr>
              <p:cNvPr id="112" name="Straight Connector 111">
                <a:extLst>
                  <a:ext uri="{FF2B5EF4-FFF2-40B4-BE49-F238E27FC236}">
                    <a16:creationId xmlns:a16="http://schemas.microsoft.com/office/drawing/2014/main" id="{785B118F-D0F6-E8C6-C47E-22CB4C995B7E}"/>
                  </a:ext>
                </a:extLst>
              </p:cNvPr>
              <p:cNvCxnSpPr>
                <a:endCxn id="111" idx="1"/>
              </p:cNvCxnSpPr>
              <p:nvPr/>
            </p:nvCxnSpPr>
            <p:spPr>
              <a:xfrm>
                <a:off x="3064310" y="2272704"/>
                <a:ext cx="191251" cy="1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Straight Connector 112">
                <a:extLst>
                  <a:ext uri="{FF2B5EF4-FFF2-40B4-BE49-F238E27FC236}">
                    <a16:creationId xmlns:a16="http://schemas.microsoft.com/office/drawing/2014/main" id="{B35323F4-C864-B163-39F3-E71209FF7758}"/>
                  </a:ext>
                </a:extLst>
              </p:cNvPr>
              <p:cNvCxnSpPr>
                <a:stCxn id="111" idx="3"/>
                <a:endCxn id="110" idx="1"/>
              </p:cNvCxnSpPr>
              <p:nvPr/>
            </p:nvCxnSpPr>
            <p:spPr>
              <a:xfrm flipV="1">
                <a:off x="3651235" y="2272704"/>
                <a:ext cx="189527" cy="1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114" name="Graphic 113">
                <a:extLst>
                  <a:ext uri="{FF2B5EF4-FFF2-40B4-BE49-F238E27FC236}">
                    <a16:creationId xmlns:a16="http://schemas.microsoft.com/office/drawing/2014/main" id="{0EC96D5D-0730-C4C5-24FB-B1CAF1700B4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3255561" y="1593038"/>
                <a:ext cx="395675" cy="395675"/>
              </a:xfrm>
              <a:prstGeom prst="rect">
                <a:avLst/>
              </a:prstGeom>
            </p:spPr>
          </p:pic>
          <p:cxnSp>
            <p:nvCxnSpPr>
              <p:cNvPr id="115" name="Straight Connector 114">
                <a:extLst>
                  <a:ext uri="{FF2B5EF4-FFF2-40B4-BE49-F238E27FC236}">
                    <a16:creationId xmlns:a16="http://schemas.microsoft.com/office/drawing/2014/main" id="{B87E9E1D-C343-6B2F-D642-D2CBF67CDB7B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988044" y="1924570"/>
                <a:ext cx="304788" cy="209030"/>
              </a:xfrm>
              <a:prstGeom prst="line">
                <a:avLst/>
              </a:prstGeom>
              <a:ln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>
                <a:extLst>
                  <a:ext uri="{FF2B5EF4-FFF2-40B4-BE49-F238E27FC236}">
                    <a16:creationId xmlns:a16="http://schemas.microsoft.com/office/drawing/2014/main" id="{DA74DE0D-2D2E-66C8-06ED-5BF53233F13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12240" y="1897910"/>
                <a:ext cx="273960" cy="235690"/>
              </a:xfrm>
              <a:prstGeom prst="line">
                <a:avLst/>
              </a:prstGeom>
              <a:ln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08" name="Graphic 33">
              <a:extLst>
                <a:ext uri="{FF2B5EF4-FFF2-40B4-BE49-F238E27FC236}">
                  <a16:creationId xmlns:a16="http://schemas.microsoft.com/office/drawing/2014/main" id="{D8EBBF6E-C239-5DB0-4082-A13CCE8AF55B}"/>
                </a:ext>
              </a:extLst>
            </p:cNvPr>
            <p:cNvSpPr/>
            <p:nvPr/>
          </p:nvSpPr>
          <p:spPr>
            <a:xfrm>
              <a:off x="3157335" y="3890405"/>
              <a:ext cx="1495602" cy="1085045"/>
            </a:xfrm>
            <a:custGeom>
              <a:avLst/>
              <a:gdLst>
                <a:gd name="connsiteX0" fmla="*/ 779429 w 971550"/>
                <a:gd name="connsiteY0" fmla="*/ 705290 h 704850"/>
                <a:gd name="connsiteX1" fmla="*/ 242409 w 971550"/>
                <a:gd name="connsiteY1" fmla="*/ 705290 h 704850"/>
                <a:gd name="connsiteX2" fmla="*/ 92200 w 971550"/>
                <a:gd name="connsiteY2" fmla="*/ 651283 h 704850"/>
                <a:gd name="connsiteX3" fmla="*/ 8475 w 971550"/>
                <a:gd name="connsiteY3" fmla="*/ 441733 h 704850"/>
                <a:gd name="connsiteX4" fmla="*/ 206024 w 971550"/>
                <a:gd name="connsiteY4" fmla="*/ 236755 h 704850"/>
                <a:gd name="connsiteX5" fmla="*/ 207167 w 971550"/>
                <a:gd name="connsiteY5" fmla="*/ 235612 h 704850"/>
                <a:gd name="connsiteX6" fmla="*/ 302417 w 971550"/>
                <a:gd name="connsiteY6" fmla="*/ 74640 h 704850"/>
                <a:gd name="connsiteX7" fmla="*/ 486916 w 971550"/>
                <a:gd name="connsiteY7" fmla="*/ 7203 h 704850"/>
                <a:gd name="connsiteX8" fmla="*/ 686941 w 971550"/>
                <a:gd name="connsiteY8" fmla="*/ 89308 h 704850"/>
                <a:gd name="connsiteX9" fmla="*/ 771523 w 971550"/>
                <a:gd name="connsiteY9" fmla="*/ 288762 h 704850"/>
                <a:gd name="connsiteX10" fmla="*/ 771523 w 971550"/>
                <a:gd name="connsiteY10" fmla="*/ 328672 h 704850"/>
                <a:gd name="connsiteX11" fmla="*/ 772380 w 971550"/>
                <a:gd name="connsiteY11" fmla="*/ 329719 h 704850"/>
                <a:gd name="connsiteX12" fmla="*/ 807242 w 971550"/>
                <a:gd name="connsiteY12" fmla="*/ 334672 h 704850"/>
                <a:gd name="connsiteX13" fmla="*/ 913445 w 971550"/>
                <a:gd name="connsiteY13" fmla="*/ 388774 h 704850"/>
                <a:gd name="connsiteX14" fmla="*/ 911151 w 971550"/>
                <a:gd name="connsiteY14" fmla="*/ 652245 h 704850"/>
                <a:gd name="connsiteX15" fmla="*/ 780095 w 971550"/>
                <a:gd name="connsiteY15" fmla="*/ 705671 h 704850"/>
                <a:gd name="connsiteX16" fmla="*/ 486535 w 971550"/>
                <a:gd name="connsiteY16" fmla="*/ 54447 h 704850"/>
                <a:gd name="connsiteX17" fmla="*/ 334135 w 971550"/>
                <a:gd name="connsiteY17" fmla="*/ 109025 h 704850"/>
                <a:gd name="connsiteX18" fmla="*/ 252315 w 971550"/>
                <a:gd name="connsiteY18" fmla="*/ 248757 h 704850"/>
                <a:gd name="connsiteX19" fmla="*/ 218216 w 971550"/>
                <a:gd name="connsiteY19" fmla="*/ 282285 h 704850"/>
                <a:gd name="connsiteX20" fmla="*/ 55433 w 971550"/>
                <a:gd name="connsiteY20" fmla="*/ 446115 h 704850"/>
                <a:gd name="connsiteX21" fmla="*/ 122108 w 971550"/>
                <a:gd name="connsiteY21" fmla="*/ 614898 h 704850"/>
                <a:gd name="connsiteX22" fmla="*/ 241647 w 971550"/>
                <a:gd name="connsiteY22" fmla="*/ 657665 h 704850"/>
                <a:gd name="connsiteX23" fmla="*/ 778667 w 971550"/>
                <a:gd name="connsiteY23" fmla="*/ 657665 h 704850"/>
                <a:gd name="connsiteX24" fmla="*/ 917537 w 971550"/>
                <a:gd name="connsiteY24" fmla="*/ 519168 h 704850"/>
                <a:gd name="connsiteX25" fmla="*/ 877631 w 971550"/>
                <a:gd name="connsiteY25" fmla="*/ 421636 h 704850"/>
                <a:gd name="connsiteX26" fmla="*/ 798574 w 971550"/>
                <a:gd name="connsiteY26" fmla="*/ 381440 h 704850"/>
                <a:gd name="connsiteX27" fmla="*/ 763903 w 971550"/>
                <a:gd name="connsiteY27" fmla="*/ 376487 h 704850"/>
                <a:gd name="connsiteX28" fmla="*/ 722183 w 971550"/>
                <a:gd name="connsiteY28" fmla="*/ 326862 h 704850"/>
                <a:gd name="connsiteX29" fmla="*/ 722183 w 971550"/>
                <a:gd name="connsiteY29" fmla="*/ 290191 h 704850"/>
                <a:gd name="connsiteX30" fmla="*/ 651317 w 971550"/>
                <a:gd name="connsiteY30" fmla="*/ 122360 h 704850"/>
                <a:gd name="connsiteX31" fmla="*/ 486535 w 971550"/>
                <a:gd name="connsiteY31" fmla="*/ 54447 h 704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971550" h="704850">
                  <a:moveTo>
                    <a:pt x="779429" y="705290"/>
                  </a:moveTo>
                  <a:lnTo>
                    <a:pt x="242409" y="705290"/>
                  </a:lnTo>
                  <a:cubicBezTo>
                    <a:pt x="187442" y="706129"/>
                    <a:pt x="134048" y="686932"/>
                    <a:pt x="92200" y="651283"/>
                  </a:cubicBezTo>
                  <a:cubicBezTo>
                    <a:pt x="31445" y="599513"/>
                    <a:pt x="121" y="521116"/>
                    <a:pt x="8475" y="441733"/>
                  </a:cubicBezTo>
                  <a:cubicBezTo>
                    <a:pt x="18857" y="339149"/>
                    <a:pt x="85342" y="270283"/>
                    <a:pt x="206024" y="236755"/>
                  </a:cubicBezTo>
                  <a:cubicBezTo>
                    <a:pt x="206572" y="236589"/>
                    <a:pt x="207000" y="236160"/>
                    <a:pt x="207167" y="235612"/>
                  </a:cubicBezTo>
                  <a:cubicBezTo>
                    <a:pt x="223895" y="174379"/>
                    <a:pt x="256796" y="118777"/>
                    <a:pt x="302417" y="74640"/>
                  </a:cubicBezTo>
                  <a:cubicBezTo>
                    <a:pt x="350042" y="29872"/>
                    <a:pt x="412240" y="7203"/>
                    <a:pt x="486916" y="7203"/>
                  </a:cubicBezTo>
                  <a:cubicBezTo>
                    <a:pt x="562095" y="5634"/>
                    <a:pt x="634545" y="35373"/>
                    <a:pt x="686941" y="89308"/>
                  </a:cubicBezTo>
                  <a:cubicBezTo>
                    <a:pt x="739974" y="142281"/>
                    <a:pt x="770309" y="213814"/>
                    <a:pt x="771523" y="288762"/>
                  </a:cubicBezTo>
                  <a:cubicBezTo>
                    <a:pt x="771523" y="298858"/>
                    <a:pt x="771523" y="312003"/>
                    <a:pt x="771523" y="328672"/>
                  </a:cubicBezTo>
                  <a:cubicBezTo>
                    <a:pt x="771549" y="329171"/>
                    <a:pt x="771896" y="329595"/>
                    <a:pt x="772380" y="329719"/>
                  </a:cubicBezTo>
                  <a:lnTo>
                    <a:pt x="807242" y="334672"/>
                  </a:lnTo>
                  <a:cubicBezTo>
                    <a:pt x="847678" y="340383"/>
                    <a:pt x="885053" y="359422"/>
                    <a:pt x="913445" y="388774"/>
                  </a:cubicBezTo>
                  <a:cubicBezTo>
                    <a:pt x="985567" y="462163"/>
                    <a:pt x="984540" y="580123"/>
                    <a:pt x="911151" y="652245"/>
                  </a:cubicBezTo>
                  <a:cubicBezTo>
                    <a:pt x="876194" y="686599"/>
                    <a:pt x="829107" y="705794"/>
                    <a:pt x="780095" y="705671"/>
                  </a:cubicBezTo>
                  <a:close/>
                  <a:moveTo>
                    <a:pt x="486535" y="54447"/>
                  </a:moveTo>
                  <a:cubicBezTo>
                    <a:pt x="423479" y="54447"/>
                    <a:pt x="373854" y="72259"/>
                    <a:pt x="334135" y="109025"/>
                  </a:cubicBezTo>
                  <a:cubicBezTo>
                    <a:pt x="294863" y="147452"/>
                    <a:pt x="266609" y="195704"/>
                    <a:pt x="252315" y="248757"/>
                  </a:cubicBezTo>
                  <a:cubicBezTo>
                    <a:pt x="247519" y="265082"/>
                    <a:pt x="234619" y="277765"/>
                    <a:pt x="218216" y="282285"/>
                  </a:cubicBezTo>
                  <a:cubicBezTo>
                    <a:pt x="116965" y="310860"/>
                    <a:pt x="63720" y="363914"/>
                    <a:pt x="55433" y="446115"/>
                  </a:cubicBezTo>
                  <a:cubicBezTo>
                    <a:pt x="48390" y="509939"/>
                    <a:pt x="73348" y="573118"/>
                    <a:pt x="122108" y="614898"/>
                  </a:cubicBezTo>
                  <a:cubicBezTo>
                    <a:pt x="155335" y="643376"/>
                    <a:pt x="197896" y="658603"/>
                    <a:pt x="241647" y="657665"/>
                  </a:cubicBezTo>
                  <a:lnTo>
                    <a:pt x="778667" y="657665"/>
                  </a:lnTo>
                  <a:cubicBezTo>
                    <a:pt x="855260" y="657768"/>
                    <a:pt x="917434" y="595761"/>
                    <a:pt x="917537" y="519168"/>
                  </a:cubicBezTo>
                  <a:cubicBezTo>
                    <a:pt x="917586" y="482673"/>
                    <a:pt x="903248" y="447629"/>
                    <a:pt x="877631" y="421636"/>
                  </a:cubicBezTo>
                  <a:cubicBezTo>
                    <a:pt x="856559" y="399714"/>
                    <a:pt x="828702" y="385551"/>
                    <a:pt x="798574" y="381440"/>
                  </a:cubicBezTo>
                  <a:lnTo>
                    <a:pt x="763903" y="376487"/>
                  </a:lnTo>
                  <a:cubicBezTo>
                    <a:pt x="739422" y="372921"/>
                    <a:pt x="721490" y="351591"/>
                    <a:pt x="722183" y="326862"/>
                  </a:cubicBezTo>
                  <a:cubicBezTo>
                    <a:pt x="722183" y="311622"/>
                    <a:pt x="722183" y="299239"/>
                    <a:pt x="722183" y="290191"/>
                  </a:cubicBezTo>
                  <a:cubicBezTo>
                    <a:pt x="721586" y="227097"/>
                    <a:pt x="696120" y="166788"/>
                    <a:pt x="651317" y="122360"/>
                  </a:cubicBezTo>
                  <a:cubicBezTo>
                    <a:pt x="608305" y="77673"/>
                    <a:pt x="548543" y="53042"/>
                    <a:pt x="486535" y="54447"/>
                  </a:cubicBezTo>
                  <a:close/>
                </a:path>
              </a:pathLst>
            </a:custGeom>
            <a:noFill/>
            <a:ln w="9525" cap="flat">
              <a:solidFill>
                <a:schemeClr val="tx1"/>
              </a:solidFill>
              <a:prstDash val="dash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117" name="Group 116">
            <a:extLst>
              <a:ext uri="{FF2B5EF4-FFF2-40B4-BE49-F238E27FC236}">
                <a16:creationId xmlns:a16="http://schemas.microsoft.com/office/drawing/2014/main" id="{3C83D5F2-0C0A-F0EB-2BDA-46BF5A382EDE}"/>
              </a:ext>
            </a:extLst>
          </p:cNvPr>
          <p:cNvGrpSpPr>
            <a:grpSpLocks noChangeAspect="1"/>
          </p:cNvGrpSpPr>
          <p:nvPr/>
        </p:nvGrpSpPr>
        <p:grpSpPr>
          <a:xfrm>
            <a:off x="8928163" y="4934167"/>
            <a:ext cx="1344415" cy="975360"/>
            <a:chOff x="3157335" y="3890405"/>
            <a:chExt cx="1495602" cy="1085045"/>
          </a:xfrm>
        </p:grpSpPr>
        <p:grpSp>
          <p:nvGrpSpPr>
            <p:cNvPr id="118" name="Group 117">
              <a:extLst>
                <a:ext uri="{FF2B5EF4-FFF2-40B4-BE49-F238E27FC236}">
                  <a16:creationId xmlns:a16="http://schemas.microsoft.com/office/drawing/2014/main" id="{5AAC3F2E-5EBA-8653-6F99-25D5716663A4}"/>
                </a:ext>
              </a:extLst>
            </p:cNvPr>
            <p:cNvGrpSpPr/>
            <p:nvPr/>
          </p:nvGrpSpPr>
          <p:grpSpPr>
            <a:xfrm>
              <a:off x="3408080" y="4230350"/>
              <a:ext cx="974579" cy="545475"/>
              <a:chOff x="2668635" y="1593038"/>
              <a:chExt cx="1567802" cy="877504"/>
            </a:xfrm>
          </p:grpSpPr>
          <p:pic>
            <p:nvPicPr>
              <p:cNvPr id="120" name="Graphic 119">
                <a:extLst>
                  <a:ext uri="{FF2B5EF4-FFF2-40B4-BE49-F238E27FC236}">
                    <a16:creationId xmlns:a16="http://schemas.microsoft.com/office/drawing/2014/main" id="{3DF496E8-B60F-D91B-EE48-811B6F332A7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2668635" y="2074867"/>
                <a:ext cx="395675" cy="395675"/>
              </a:xfrm>
              <a:prstGeom prst="rect">
                <a:avLst/>
              </a:prstGeom>
            </p:spPr>
          </p:pic>
          <p:pic>
            <p:nvPicPr>
              <p:cNvPr id="121" name="Graphic 120">
                <a:extLst>
                  <a:ext uri="{FF2B5EF4-FFF2-40B4-BE49-F238E27FC236}">
                    <a16:creationId xmlns:a16="http://schemas.microsoft.com/office/drawing/2014/main" id="{9486DF0F-681F-3862-FE7F-C41872F7C58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3840762" y="2074866"/>
                <a:ext cx="395675" cy="395675"/>
              </a:xfrm>
              <a:prstGeom prst="rect">
                <a:avLst/>
              </a:prstGeom>
            </p:spPr>
          </p:pic>
          <p:pic>
            <p:nvPicPr>
              <p:cNvPr id="122" name="Graphic 121">
                <a:extLst>
                  <a:ext uri="{FF2B5EF4-FFF2-40B4-BE49-F238E27FC236}">
                    <a16:creationId xmlns:a16="http://schemas.microsoft.com/office/drawing/2014/main" id="{31FBE8A2-EF3D-1BFE-CD13-1CF5A009AF7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3255561" y="2074868"/>
                <a:ext cx="395674" cy="395674"/>
              </a:xfrm>
              <a:prstGeom prst="rect">
                <a:avLst/>
              </a:prstGeom>
            </p:spPr>
          </p:pic>
          <p:cxnSp>
            <p:nvCxnSpPr>
              <p:cNvPr id="123" name="Straight Connector 122">
                <a:extLst>
                  <a:ext uri="{FF2B5EF4-FFF2-40B4-BE49-F238E27FC236}">
                    <a16:creationId xmlns:a16="http://schemas.microsoft.com/office/drawing/2014/main" id="{3530983A-BC39-7C41-4C09-09D766568F68}"/>
                  </a:ext>
                </a:extLst>
              </p:cNvPr>
              <p:cNvCxnSpPr>
                <a:endCxn id="122" idx="1"/>
              </p:cNvCxnSpPr>
              <p:nvPr/>
            </p:nvCxnSpPr>
            <p:spPr>
              <a:xfrm>
                <a:off x="3064310" y="2272704"/>
                <a:ext cx="191251" cy="1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>
                <a:extLst>
                  <a:ext uri="{FF2B5EF4-FFF2-40B4-BE49-F238E27FC236}">
                    <a16:creationId xmlns:a16="http://schemas.microsoft.com/office/drawing/2014/main" id="{BF0120B1-B58C-16AF-A4AE-4B5CDCCD485F}"/>
                  </a:ext>
                </a:extLst>
              </p:cNvPr>
              <p:cNvCxnSpPr>
                <a:stCxn id="122" idx="3"/>
                <a:endCxn id="121" idx="1"/>
              </p:cNvCxnSpPr>
              <p:nvPr/>
            </p:nvCxnSpPr>
            <p:spPr>
              <a:xfrm flipV="1">
                <a:off x="3651235" y="2272704"/>
                <a:ext cx="189527" cy="1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125" name="Graphic 124">
                <a:extLst>
                  <a:ext uri="{FF2B5EF4-FFF2-40B4-BE49-F238E27FC236}">
                    <a16:creationId xmlns:a16="http://schemas.microsoft.com/office/drawing/2014/main" id="{EAA22D87-27A6-7DBB-F36B-2B9F8A07635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3255561" y="1593038"/>
                <a:ext cx="395675" cy="395675"/>
              </a:xfrm>
              <a:prstGeom prst="rect">
                <a:avLst/>
              </a:prstGeom>
            </p:spPr>
          </p:pic>
          <p:cxnSp>
            <p:nvCxnSpPr>
              <p:cNvPr id="126" name="Straight Connector 125">
                <a:extLst>
                  <a:ext uri="{FF2B5EF4-FFF2-40B4-BE49-F238E27FC236}">
                    <a16:creationId xmlns:a16="http://schemas.microsoft.com/office/drawing/2014/main" id="{3E324B28-8A0C-A2EF-FBE1-C3E77D0D48F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988044" y="1924570"/>
                <a:ext cx="304788" cy="209030"/>
              </a:xfrm>
              <a:prstGeom prst="line">
                <a:avLst/>
              </a:prstGeom>
              <a:ln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Straight Connector 126">
                <a:extLst>
                  <a:ext uri="{FF2B5EF4-FFF2-40B4-BE49-F238E27FC236}">
                    <a16:creationId xmlns:a16="http://schemas.microsoft.com/office/drawing/2014/main" id="{CFD60E90-032B-3A23-5B7C-4D3EC22D785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12240" y="1897910"/>
                <a:ext cx="273960" cy="235690"/>
              </a:xfrm>
              <a:prstGeom prst="line">
                <a:avLst/>
              </a:prstGeom>
              <a:ln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19" name="Graphic 33">
              <a:extLst>
                <a:ext uri="{FF2B5EF4-FFF2-40B4-BE49-F238E27FC236}">
                  <a16:creationId xmlns:a16="http://schemas.microsoft.com/office/drawing/2014/main" id="{38CF54B5-4CB5-7795-E9A5-B711C00281D1}"/>
                </a:ext>
              </a:extLst>
            </p:cNvPr>
            <p:cNvSpPr/>
            <p:nvPr/>
          </p:nvSpPr>
          <p:spPr>
            <a:xfrm>
              <a:off x="3157335" y="3890405"/>
              <a:ext cx="1495602" cy="1085045"/>
            </a:xfrm>
            <a:custGeom>
              <a:avLst/>
              <a:gdLst>
                <a:gd name="connsiteX0" fmla="*/ 779429 w 971550"/>
                <a:gd name="connsiteY0" fmla="*/ 705290 h 704850"/>
                <a:gd name="connsiteX1" fmla="*/ 242409 w 971550"/>
                <a:gd name="connsiteY1" fmla="*/ 705290 h 704850"/>
                <a:gd name="connsiteX2" fmla="*/ 92200 w 971550"/>
                <a:gd name="connsiteY2" fmla="*/ 651283 h 704850"/>
                <a:gd name="connsiteX3" fmla="*/ 8475 w 971550"/>
                <a:gd name="connsiteY3" fmla="*/ 441733 h 704850"/>
                <a:gd name="connsiteX4" fmla="*/ 206024 w 971550"/>
                <a:gd name="connsiteY4" fmla="*/ 236755 h 704850"/>
                <a:gd name="connsiteX5" fmla="*/ 207167 w 971550"/>
                <a:gd name="connsiteY5" fmla="*/ 235612 h 704850"/>
                <a:gd name="connsiteX6" fmla="*/ 302417 w 971550"/>
                <a:gd name="connsiteY6" fmla="*/ 74640 h 704850"/>
                <a:gd name="connsiteX7" fmla="*/ 486916 w 971550"/>
                <a:gd name="connsiteY7" fmla="*/ 7203 h 704850"/>
                <a:gd name="connsiteX8" fmla="*/ 686941 w 971550"/>
                <a:gd name="connsiteY8" fmla="*/ 89308 h 704850"/>
                <a:gd name="connsiteX9" fmla="*/ 771523 w 971550"/>
                <a:gd name="connsiteY9" fmla="*/ 288762 h 704850"/>
                <a:gd name="connsiteX10" fmla="*/ 771523 w 971550"/>
                <a:gd name="connsiteY10" fmla="*/ 328672 h 704850"/>
                <a:gd name="connsiteX11" fmla="*/ 772380 w 971550"/>
                <a:gd name="connsiteY11" fmla="*/ 329719 h 704850"/>
                <a:gd name="connsiteX12" fmla="*/ 807242 w 971550"/>
                <a:gd name="connsiteY12" fmla="*/ 334672 h 704850"/>
                <a:gd name="connsiteX13" fmla="*/ 913445 w 971550"/>
                <a:gd name="connsiteY13" fmla="*/ 388774 h 704850"/>
                <a:gd name="connsiteX14" fmla="*/ 911151 w 971550"/>
                <a:gd name="connsiteY14" fmla="*/ 652245 h 704850"/>
                <a:gd name="connsiteX15" fmla="*/ 780095 w 971550"/>
                <a:gd name="connsiteY15" fmla="*/ 705671 h 704850"/>
                <a:gd name="connsiteX16" fmla="*/ 486535 w 971550"/>
                <a:gd name="connsiteY16" fmla="*/ 54447 h 704850"/>
                <a:gd name="connsiteX17" fmla="*/ 334135 w 971550"/>
                <a:gd name="connsiteY17" fmla="*/ 109025 h 704850"/>
                <a:gd name="connsiteX18" fmla="*/ 252315 w 971550"/>
                <a:gd name="connsiteY18" fmla="*/ 248757 h 704850"/>
                <a:gd name="connsiteX19" fmla="*/ 218216 w 971550"/>
                <a:gd name="connsiteY19" fmla="*/ 282285 h 704850"/>
                <a:gd name="connsiteX20" fmla="*/ 55433 w 971550"/>
                <a:gd name="connsiteY20" fmla="*/ 446115 h 704850"/>
                <a:gd name="connsiteX21" fmla="*/ 122108 w 971550"/>
                <a:gd name="connsiteY21" fmla="*/ 614898 h 704850"/>
                <a:gd name="connsiteX22" fmla="*/ 241647 w 971550"/>
                <a:gd name="connsiteY22" fmla="*/ 657665 h 704850"/>
                <a:gd name="connsiteX23" fmla="*/ 778667 w 971550"/>
                <a:gd name="connsiteY23" fmla="*/ 657665 h 704850"/>
                <a:gd name="connsiteX24" fmla="*/ 917537 w 971550"/>
                <a:gd name="connsiteY24" fmla="*/ 519168 h 704850"/>
                <a:gd name="connsiteX25" fmla="*/ 877631 w 971550"/>
                <a:gd name="connsiteY25" fmla="*/ 421636 h 704850"/>
                <a:gd name="connsiteX26" fmla="*/ 798574 w 971550"/>
                <a:gd name="connsiteY26" fmla="*/ 381440 h 704850"/>
                <a:gd name="connsiteX27" fmla="*/ 763903 w 971550"/>
                <a:gd name="connsiteY27" fmla="*/ 376487 h 704850"/>
                <a:gd name="connsiteX28" fmla="*/ 722183 w 971550"/>
                <a:gd name="connsiteY28" fmla="*/ 326862 h 704850"/>
                <a:gd name="connsiteX29" fmla="*/ 722183 w 971550"/>
                <a:gd name="connsiteY29" fmla="*/ 290191 h 704850"/>
                <a:gd name="connsiteX30" fmla="*/ 651317 w 971550"/>
                <a:gd name="connsiteY30" fmla="*/ 122360 h 704850"/>
                <a:gd name="connsiteX31" fmla="*/ 486535 w 971550"/>
                <a:gd name="connsiteY31" fmla="*/ 54447 h 704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971550" h="704850">
                  <a:moveTo>
                    <a:pt x="779429" y="705290"/>
                  </a:moveTo>
                  <a:lnTo>
                    <a:pt x="242409" y="705290"/>
                  </a:lnTo>
                  <a:cubicBezTo>
                    <a:pt x="187442" y="706129"/>
                    <a:pt x="134048" y="686932"/>
                    <a:pt x="92200" y="651283"/>
                  </a:cubicBezTo>
                  <a:cubicBezTo>
                    <a:pt x="31445" y="599513"/>
                    <a:pt x="121" y="521116"/>
                    <a:pt x="8475" y="441733"/>
                  </a:cubicBezTo>
                  <a:cubicBezTo>
                    <a:pt x="18857" y="339149"/>
                    <a:pt x="85342" y="270283"/>
                    <a:pt x="206024" y="236755"/>
                  </a:cubicBezTo>
                  <a:cubicBezTo>
                    <a:pt x="206572" y="236589"/>
                    <a:pt x="207000" y="236160"/>
                    <a:pt x="207167" y="235612"/>
                  </a:cubicBezTo>
                  <a:cubicBezTo>
                    <a:pt x="223895" y="174379"/>
                    <a:pt x="256796" y="118777"/>
                    <a:pt x="302417" y="74640"/>
                  </a:cubicBezTo>
                  <a:cubicBezTo>
                    <a:pt x="350042" y="29872"/>
                    <a:pt x="412240" y="7203"/>
                    <a:pt x="486916" y="7203"/>
                  </a:cubicBezTo>
                  <a:cubicBezTo>
                    <a:pt x="562095" y="5634"/>
                    <a:pt x="634545" y="35373"/>
                    <a:pt x="686941" y="89308"/>
                  </a:cubicBezTo>
                  <a:cubicBezTo>
                    <a:pt x="739974" y="142281"/>
                    <a:pt x="770309" y="213814"/>
                    <a:pt x="771523" y="288762"/>
                  </a:cubicBezTo>
                  <a:cubicBezTo>
                    <a:pt x="771523" y="298858"/>
                    <a:pt x="771523" y="312003"/>
                    <a:pt x="771523" y="328672"/>
                  </a:cubicBezTo>
                  <a:cubicBezTo>
                    <a:pt x="771549" y="329171"/>
                    <a:pt x="771896" y="329595"/>
                    <a:pt x="772380" y="329719"/>
                  </a:cubicBezTo>
                  <a:lnTo>
                    <a:pt x="807242" y="334672"/>
                  </a:lnTo>
                  <a:cubicBezTo>
                    <a:pt x="847678" y="340383"/>
                    <a:pt x="885053" y="359422"/>
                    <a:pt x="913445" y="388774"/>
                  </a:cubicBezTo>
                  <a:cubicBezTo>
                    <a:pt x="985567" y="462163"/>
                    <a:pt x="984540" y="580123"/>
                    <a:pt x="911151" y="652245"/>
                  </a:cubicBezTo>
                  <a:cubicBezTo>
                    <a:pt x="876194" y="686599"/>
                    <a:pt x="829107" y="705794"/>
                    <a:pt x="780095" y="705671"/>
                  </a:cubicBezTo>
                  <a:close/>
                  <a:moveTo>
                    <a:pt x="486535" y="54447"/>
                  </a:moveTo>
                  <a:cubicBezTo>
                    <a:pt x="423479" y="54447"/>
                    <a:pt x="373854" y="72259"/>
                    <a:pt x="334135" y="109025"/>
                  </a:cubicBezTo>
                  <a:cubicBezTo>
                    <a:pt x="294863" y="147452"/>
                    <a:pt x="266609" y="195704"/>
                    <a:pt x="252315" y="248757"/>
                  </a:cubicBezTo>
                  <a:cubicBezTo>
                    <a:pt x="247519" y="265082"/>
                    <a:pt x="234619" y="277765"/>
                    <a:pt x="218216" y="282285"/>
                  </a:cubicBezTo>
                  <a:cubicBezTo>
                    <a:pt x="116965" y="310860"/>
                    <a:pt x="63720" y="363914"/>
                    <a:pt x="55433" y="446115"/>
                  </a:cubicBezTo>
                  <a:cubicBezTo>
                    <a:pt x="48390" y="509939"/>
                    <a:pt x="73348" y="573118"/>
                    <a:pt x="122108" y="614898"/>
                  </a:cubicBezTo>
                  <a:cubicBezTo>
                    <a:pt x="155335" y="643376"/>
                    <a:pt x="197896" y="658603"/>
                    <a:pt x="241647" y="657665"/>
                  </a:cubicBezTo>
                  <a:lnTo>
                    <a:pt x="778667" y="657665"/>
                  </a:lnTo>
                  <a:cubicBezTo>
                    <a:pt x="855260" y="657768"/>
                    <a:pt x="917434" y="595761"/>
                    <a:pt x="917537" y="519168"/>
                  </a:cubicBezTo>
                  <a:cubicBezTo>
                    <a:pt x="917586" y="482673"/>
                    <a:pt x="903248" y="447629"/>
                    <a:pt x="877631" y="421636"/>
                  </a:cubicBezTo>
                  <a:cubicBezTo>
                    <a:pt x="856559" y="399714"/>
                    <a:pt x="828702" y="385551"/>
                    <a:pt x="798574" y="381440"/>
                  </a:cubicBezTo>
                  <a:lnTo>
                    <a:pt x="763903" y="376487"/>
                  </a:lnTo>
                  <a:cubicBezTo>
                    <a:pt x="739422" y="372921"/>
                    <a:pt x="721490" y="351591"/>
                    <a:pt x="722183" y="326862"/>
                  </a:cubicBezTo>
                  <a:cubicBezTo>
                    <a:pt x="722183" y="311622"/>
                    <a:pt x="722183" y="299239"/>
                    <a:pt x="722183" y="290191"/>
                  </a:cubicBezTo>
                  <a:cubicBezTo>
                    <a:pt x="721586" y="227097"/>
                    <a:pt x="696120" y="166788"/>
                    <a:pt x="651317" y="122360"/>
                  </a:cubicBezTo>
                  <a:cubicBezTo>
                    <a:pt x="608305" y="77673"/>
                    <a:pt x="548543" y="53042"/>
                    <a:pt x="486535" y="54447"/>
                  </a:cubicBezTo>
                  <a:close/>
                </a:path>
              </a:pathLst>
            </a:custGeom>
            <a:noFill/>
            <a:ln w="9525" cap="flat">
              <a:solidFill>
                <a:schemeClr val="tx1"/>
              </a:solidFill>
              <a:prstDash val="dash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cxnSp>
        <p:nvCxnSpPr>
          <p:cNvPr id="129" name="Curved Connector 128">
            <a:extLst>
              <a:ext uri="{FF2B5EF4-FFF2-40B4-BE49-F238E27FC236}">
                <a16:creationId xmlns:a16="http://schemas.microsoft.com/office/drawing/2014/main" id="{9C35D685-F2EF-23DB-3A23-2DD330D8C1BC}"/>
              </a:ext>
            </a:extLst>
          </p:cNvPr>
          <p:cNvCxnSpPr>
            <a:cxnSpLocks/>
          </p:cNvCxnSpPr>
          <p:nvPr/>
        </p:nvCxnSpPr>
        <p:spPr>
          <a:xfrm>
            <a:off x="1962294" y="1829085"/>
            <a:ext cx="800469" cy="295700"/>
          </a:xfrm>
          <a:prstGeom prst="curvedConnector3">
            <a:avLst/>
          </a:prstGeom>
          <a:ln w="19050">
            <a:solidFill>
              <a:schemeClr val="bg1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Curved Connector 129">
            <a:extLst>
              <a:ext uri="{FF2B5EF4-FFF2-40B4-BE49-F238E27FC236}">
                <a16:creationId xmlns:a16="http://schemas.microsoft.com/office/drawing/2014/main" id="{EEF1DC0E-5D07-974E-D5AC-F1FC0BF1939D}"/>
              </a:ext>
            </a:extLst>
          </p:cNvPr>
          <p:cNvCxnSpPr>
            <a:cxnSpLocks/>
          </p:cNvCxnSpPr>
          <p:nvPr/>
        </p:nvCxnSpPr>
        <p:spPr>
          <a:xfrm flipV="1">
            <a:off x="3358300" y="5350295"/>
            <a:ext cx="906489" cy="110887"/>
          </a:xfrm>
          <a:prstGeom prst="curvedConnector3">
            <a:avLst/>
          </a:prstGeom>
          <a:ln w="19050">
            <a:solidFill>
              <a:schemeClr val="bg1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Curved Connector 138">
            <a:extLst>
              <a:ext uri="{FF2B5EF4-FFF2-40B4-BE49-F238E27FC236}">
                <a16:creationId xmlns:a16="http://schemas.microsoft.com/office/drawing/2014/main" id="{C4615DF7-CE24-8D99-01CD-1A7A2DFAAFA3}"/>
              </a:ext>
            </a:extLst>
          </p:cNvPr>
          <p:cNvCxnSpPr>
            <a:cxnSpLocks/>
            <a:stCxn id="95" idx="6"/>
          </p:cNvCxnSpPr>
          <p:nvPr/>
        </p:nvCxnSpPr>
        <p:spPr>
          <a:xfrm flipH="1">
            <a:off x="9481524" y="1712050"/>
            <a:ext cx="763040" cy="202295"/>
          </a:xfrm>
          <a:prstGeom prst="curvedConnector5">
            <a:avLst>
              <a:gd name="adj1" fmla="val 22106"/>
              <a:gd name="adj2" fmla="val 8334"/>
              <a:gd name="adj3" fmla="val 76219"/>
            </a:avLst>
          </a:prstGeom>
          <a:ln w="19050">
            <a:solidFill>
              <a:schemeClr val="bg1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Curved Connector 147">
            <a:extLst>
              <a:ext uri="{FF2B5EF4-FFF2-40B4-BE49-F238E27FC236}">
                <a16:creationId xmlns:a16="http://schemas.microsoft.com/office/drawing/2014/main" id="{A85B7322-4AFE-92A3-4FBB-3E80791C6B20}"/>
              </a:ext>
            </a:extLst>
          </p:cNvPr>
          <p:cNvCxnSpPr>
            <a:cxnSpLocks/>
          </p:cNvCxnSpPr>
          <p:nvPr/>
        </p:nvCxnSpPr>
        <p:spPr>
          <a:xfrm rot="10800000">
            <a:off x="7946245" y="5308103"/>
            <a:ext cx="1040719" cy="126365"/>
          </a:xfrm>
          <a:prstGeom prst="curvedConnector3">
            <a:avLst>
              <a:gd name="adj1" fmla="val 50000"/>
            </a:avLst>
          </a:prstGeom>
          <a:ln w="19050">
            <a:solidFill>
              <a:schemeClr val="bg1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6" name="TextBox 155">
            <a:extLst>
              <a:ext uri="{FF2B5EF4-FFF2-40B4-BE49-F238E27FC236}">
                <a16:creationId xmlns:a16="http://schemas.microsoft.com/office/drawing/2014/main" id="{B8B293DB-2C76-C4D5-3C80-16D6CA733807}"/>
              </a:ext>
            </a:extLst>
          </p:cNvPr>
          <p:cNvSpPr txBox="1"/>
          <p:nvPr/>
        </p:nvSpPr>
        <p:spPr>
          <a:xfrm>
            <a:off x="183556" y="2614419"/>
            <a:ext cx="3207225" cy="110710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indent="-406400">
              <a:lnSpc>
                <a:spcPct val="115000"/>
              </a:lnSpc>
              <a:buClr>
                <a:schemeClr val="lt1"/>
              </a:buClr>
              <a:buSzPts val="2800"/>
              <a:buFont typeface="Space Mono"/>
              <a:buChar char="●"/>
              <a:defRPr sz="2800">
                <a:solidFill>
                  <a:schemeClr val="lt1"/>
                </a:solidFill>
                <a:latin typeface="Space Mono"/>
                <a:ea typeface="Space Mono"/>
                <a:cs typeface="Space Mono"/>
                <a:sym typeface="Space Mono"/>
              </a:defRPr>
            </a:lvl1pPr>
            <a:lvl2pPr marL="914400" indent="-381000">
              <a:lnSpc>
                <a:spcPct val="115000"/>
              </a:lnSpc>
              <a:buClr>
                <a:schemeClr val="lt1"/>
              </a:buClr>
              <a:buSzPts val="2400"/>
              <a:buFont typeface="Space Mono"/>
              <a:buChar char="○"/>
              <a:defRPr sz="2400">
                <a:solidFill>
                  <a:schemeClr val="lt1"/>
                </a:solidFill>
                <a:latin typeface="Space Mono"/>
                <a:ea typeface="Space Mono"/>
                <a:cs typeface="Space Mono"/>
                <a:sym typeface="Space Mono"/>
              </a:defRPr>
            </a:lvl2pPr>
            <a:lvl3pPr marL="1371600" indent="-368300">
              <a:lnSpc>
                <a:spcPct val="115000"/>
              </a:lnSpc>
              <a:buClr>
                <a:schemeClr val="lt1"/>
              </a:buClr>
              <a:buSzPts val="2200"/>
              <a:buFont typeface="Space Mono"/>
              <a:buChar char="■"/>
              <a:defRPr sz="2200">
                <a:solidFill>
                  <a:schemeClr val="lt1"/>
                </a:solidFill>
                <a:latin typeface="Space Mono"/>
                <a:ea typeface="Space Mono"/>
                <a:cs typeface="Space Mono"/>
                <a:sym typeface="Space Mono"/>
              </a:defRPr>
            </a:lvl3pPr>
            <a:lvl4pPr marL="1828800" indent="-355600">
              <a:lnSpc>
                <a:spcPct val="115000"/>
              </a:lnSpc>
              <a:buClr>
                <a:schemeClr val="lt1"/>
              </a:buClr>
              <a:buSzPts val="2000"/>
              <a:buFont typeface="Space Mono"/>
              <a:buChar char="●"/>
              <a:defRPr sz="2000">
                <a:solidFill>
                  <a:schemeClr val="lt1"/>
                </a:solidFill>
                <a:latin typeface="Space Mono"/>
                <a:ea typeface="Space Mono"/>
                <a:cs typeface="Space Mono"/>
                <a:sym typeface="Space Mono"/>
              </a:defRPr>
            </a:lvl4pPr>
            <a:lvl5pPr marL="2286000" indent="-355600">
              <a:lnSpc>
                <a:spcPct val="115000"/>
              </a:lnSpc>
              <a:buClr>
                <a:schemeClr val="lt1"/>
              </a:buClr>
              <a:buSzPts val="2000"/>
              <a:buFont typeface="Space Mono"/>
              <a:buChar char="○"/>
              <a:defRPr sz="2000">
                <a:solidFill>
                  <a:schemeClr val="lt1"/>
                </a:solidFill>
                <a:latin typeface="Space Mono"/>
                <a:ea typeface="Space Mono"/>
                <a:cs typeface="Space Mono"/>
                <a:sym typeface="Space Mono"/>
              </a:defRPr>
            </a:lvl5pPr>
            <a:lvl6pPr marL="2743200" indent="-355600">
              <a:lnSpc>
                <a:spcPct val="115000"/>
              </a:lnSpc>
              <a:buClr>
                <a:schemeClr val="lt1"/>
              </a:buClr>
              <a:buSzPts val="2000"/>
              <a:buFont typeface="Space Mono"/>
              <a:buChar char="■"/>
              <a:defRPr sz="2000">
                <a:solidFill>
                  <a:schemeClr val="lt1"/>
                </a:solidFill>
                <a:latin typeface="Space Mono"/>
                <a:ea typeface="Space Mono"/>
                <a:cs typeface="Space Mono"/>
                <a:sym typeface="Space Mono"/>
              </a:defRPr>
            </a:lvl6pPr>
            <a:lvl7pPr marL="3200400" indent="-355600">
              <a:lnSpc>
                <a:spcPct val="115000"/>
              </a:lnSpc>
              <a:buClr>
                <a:schemeClr val="lt1"/>
              </a:buClr>
              <a:buSzPts val="2000"/>
              <a:buFont typeface="Space Mono"/>
              <a:buChar char="●"/>
              <a:defRPr sz="2000">
                <a:solidFill>
                  <a:schemeClr val="lt1"/>
                </a:solidFill>
                <a:latin typeface="Space Mono"/>
                <a:ea typeface="Space Mono"/>
                <a:cs typeface="Space Mono"/>
                <a:sym typeface="Space Mono"/>
              </a:defRPr>
            </a:lvl7pPr>
            <a:lvl8pPr marL="3657600" indent="-355600">
              <a:lnSpc>
                <a:spcPct val="115000"/>
              </a:lnSpc>
              <a:buClr>
                <a:schemeClr val="lt1"/>
              </a:buClr>
              <a:buSzPts val="2000"/>
              <a:buFont typeface="Space Mono"/>
              <a:buChar char="○"/>
              <a:defRPr sz="2000">
                <a:solidFill>
                  <a:schemeClr val="lt1"/>
                </a:solidFill>
                <a:latin typeface="Space Mono"/>
                <a:ea typeface="Space Mono"/>
                <a:cs typeface="Space Mono"/>
                <a:sym typeface="Space Mono"/>
              </a:defRPr>
            </a:lvl8pPr>
            <a:lvl9pPr marL="4114800" indent="-355600">
              <a:lnSpc>
                <a:spcPct val="115000"/>
              </a:lnSpc>
              <a:buClr>
                <a:schemeClr val="lt1"/>
              </a:buClr>
              <a:buSzPts val="2000"/>
              <a:buFont typeface="Space Mono"/>
              <a:buChar char="■"/>
              <a:defRPr sz="2000">
                <a:solidFill>
                  <a:schemeClr val="lt1"/>
                </a:solidFill>
                <a:latin typeface="Space Mono"/>
                <a:ea typeface="Space Mono"/>
                <a:cs typeface="Space Mono"/>
                <a:sym typeface="Space Mono"/>
              </a:defRPr>
            </a:lvl9pPr>
          </a:lstStyle>
          <a:p>
            <a:pPr marL="67732" indent="0" algn="ctr">
              <a:buNone/>
            </a:pPr>
            <a:r>
              <a:rPr lang="en-US" sz="2133" dirty="0">
                <a:solidFill>
                  <a:schemeClr val="tx1"/>
                </a:solidFill>
              </a:rPr>
              <a:t>Generate realistic traffic</a:t>
            </a:r>
          </a:p>
        </p:txBody>
      </p:sp>
      <p:sp>
        <p:nvSpPr>
          <p:cNvPr id="157" name="TextBox 156">
            <a:extLst>
              <a:ext uri="{FF2B5EF4-FFF2-40B4-BE49-F238E27FC236}">
                <a16:creationId xmlns:a16="http://schemas.microsoft.com/office/drawing/2014/main" id="{30C3F2D0-7AB4-B417-B1BF-EF4594F75A62}"/>
              </a:ext>
            </a:extLst>
          </p:cNvPr>
          <p:cNvSpPr txBox="1"/>
          <p:nvPr/>
        </p:nvSpPr>
        <p:spPr>
          <a:xfrm>
            <a:off x="325930" y="3644162"/>
            <a:ext cx="2957333" cy="7466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indent="-406400">
              <a:lnSpc>
                <a:spcPct val="115000"/>
              </a:lnSpc>
              <a:buClr>
                <a:schemeClr val="lt1"/>
              </a:buClr>
              <a:buSzPts val="2800"/>
              <a:buFont typeface="Space Mono"/>
              <a:buChar char="●"/>
              <a:defRPr sz="2800">
                <a:solidFill>
                  <a:schemeClr val="lt1"/>
                </a:solidFill>
                <a:latin typeface="Space Mono"/>
                <a:ea typeface="Space Mono"/>
                <a:cs typeface="Space Mono"/>
                <a:sym typeface="Space Mono"/>
              </a:defRPr>
            </a:lvl1pPr>
            <a:lvl2pPr marL="914400" indent="-381000">
              <a:lnSpc>
                <a:spcPct val="115000"/>
              </a:lnSpc>
              <a:buClr>
                <a:schemeClr val="lt1"/>
              </a:buClr>
              <a:buSzPts val="2400"/>
              <a:buFont typeface="Space Mono"/>
              <a:buChar char="○"/>
              <a:defRPr sz="2400">
                <a:solidFill>
                  <a:schemeClr val="lt1"/>
                </a:solidFill>
                <a:latin typeface="Space Mono"/>
                <a:ea typeface="Space Mono"/>
                <a:cs typeface="Space Mono"/>
                <a:sym typeface="Space Mono"/>
              </a:defRPr>
            </a:lvl2pPr>
            <a:lvl3pPr marL="1371600" indent="-368300">
              <a:lnSpc>
                <a:spcPct val="115000"/>
              </a:lnSpc>
              <a:buClr>
                <a:schemeClr val="lt1"/>
              </a:buClr>
              <a:buSzPts val="2200"/>
              <a:buFont typeface="Space Mono"/>
              <a:buChar char="■"/>
              <a:defRPr sz="2200">
                <a:solidFill>
                  <a:schemeClr val="lt1"/>
                </a:solidFill>
                <a:latin typeface="Space Mono"/>
                <a:ea typeface="Space Mono"/>
                <a:cs typeface="Space Mono"/>
                <a:sym typeface="Space Mono"/>
              </a:defRPr>
            </a:lvl3pPr>
            <a:lvl4pPr marL="1828800" indent="-355600">
              <a:lnSpc>
                <a:spcPct val="115000"/>
              </a:lnSpc>
              <a:buClr>
                <a:schemeClr val="lt1"/>
              </a:buClr>
              <a:buSzPts val="2000"/>
              <a:buFont typeface="Space Mono"/>
              <a:buChar char="●"/>
              <a:defRPr sz="2000">
                <a:solidFill>
                  <a:schemeClr val="lt1"/>
                </a:solidFill>
                <a:latin typeface="Space Mono"/>
                <a:ea typeface="Space Mono"/>
                <a:cs typeface="Space Mono"/>
                <a:sym typeface="Space Mono"/>
              </a:defRPr>
            </a:lvl4pPr>
            <a:lvl5pPr marL="2286000" indent="-355600">
              <a:lnSpc>
                <a:spcPct val="115000"/>
              </a:lnSpc>
              <a:buClr>
                <a:schemeClr val="lt1"/>
              </a:buClr>
              <a:buSzPts val="2000"/>
              <a:buFont typeface="Space Mono"/>
              <a:buChar char="○"/>
              <a:defRPr sz="2000">
                <a:solidFill>
                  <a:schemeClr val="lt1"/>
                </a:solidFill>
                <a:latin typeface="Space Mono"/>
                <a:ea typeface="Space Mono"/>
                <a:cs typeface="Space Mono"/>
                <a:sym typeface="Space Mono"/>
              </a:defRPr>
            </a:lvl5pPr>
            <a:lvl6pPr marL="2743200" indent="-355600">
              <a:lnSpc>
                <a:spcPct val="115000"/>
              </a:lnSpc>
              <a:buClr>
                <a:schemeClr val="lt1"/>
              </a:buClr>
              <a:buSzPts val="2000"/>
              <a:buFont typeface="Space Mono"/>
              <a:buChar char="■"/>
              <a:defRPr sz="2000">
                <a:solidFill>
                  <a:schemeClr val="lt1"/>
                </a:solidFill>
                <a:latin typeface="Space Mono"/>
                <a:ea typeface="Space Mono"/>
                <a:cs typeface="Space Mono"/>
                <a:sym typeface="Space Mono"/>
              </a:defRPr>
            </a:lvl6pPr>
            <a:lvl7pPr marL="3200400" indent="-355600">
              <a:lnSpc>
                <a:spcPct val="115000"/>
              </a:lnSpc>
              <a:buClr>
                <a:schemeClr val="lt1"/>
              </a:buClr>
              <a:buSzPts val="2000"/>
              <a:buFont typeface="Space Mono"/>
              <a:buChar char="●"/>
              <a:defRPr sz="2000">
                <a:solidFill>
                  <a:schemeClr val="lt1"/>
                </a:solidFill>
                <a:latin typeface="Space Mono"/>
                <a:ea typeface="Space Mono"/>
                <a:cs typeface="Space Mono"/>
                <a:sym typeface="Space Mono"/>
              </a:defRPr>
            </a:lvl7pPr>
            <a:lvl8pPr marL="3657600" indent="-355600">
              <a:lnSpc>
                <a:spcPct val="115000"/>
              </a:lnSpc>
              <a:buClr>
                <a:schemeClr val="lt1"/>
              </a:buClr>
              <a:buSzPts val="2000"/>
              <a:buFont typeface="Space Mono"/>
              <a:buChar char="○"/>
              <a:defRPr sz="2000">
                <a:solidFill>
                  <a:schemeClr val="lt1"/>
                </a:solidFill>
                <a:latin typeface="Space Mono"/>
                <a:ea typeface="Space Mono"/>
                <a:cs typeface="Space Mono"/>
                <a:sym typeface="Space Mono"/>
              </a:defRPr>
            </a:lvl8pPr>
            <a:lvl9pPr marL="4114800" indent="-355600">
              <a:lnSpc>
                <a:spcPct val="115000"/>
              </a:lnSpc>
              <a:buClr>
                <a:schemeClr val="lt1"/>
              </a:buClr>
              <a:buSzPts val="2000"/>
              <a:buFont typeface="Space Mono"/>
              <a:buChar char="■"/>
              <a:defRPr sz="2000">
                <a:solidFill>
                  <a:schemeClr val="lt1"/>
                </a:solidFill>
                <a:latin typeface="Space Mono"/>
                <a:ea typeface="Space Mono"/>
                <a:cs typeface="Space Mono"/>
                <a:sym typeface="Space Mono"/>
              </a:defRPr>
            </a:lvl9pPr>
          </a:lstStyle>
          <a:p>
            <a:pPr marL="67732" indent="0" algn="ctr">
              <a:buNone/>
            </a:pPr>
            <a:r>
              <a:rPr lang="en-US" sz="2133" dirty="0">
                <a:solidFill>
                  <a:schemeClr val="tx1"/>
                </a:solidFill>
              </a:rPr>
              <a:t>Inject traffic patterns       </a:t>
            </a:r>
          </a:p>
        </p:txBody>
      </p:sp>
      <p:sp>
        <p:nvSpPr>
          <p:cNvPr id="158" name="TextBox 157">
            <a:extLst>
              <a:ext uri="{FF2B5EF4-FFF2-40B4-BE49-F238E27FC236}">
                <a16:creationId xmlns:a16="http://schemas.microsoft.com/office/drawing/2014/main" id="{F7925719-994D-CE33-4AFD-681A5BEA5B69}"/>
              </a:ext>
            </a:extLst>
          </p:cNvPr>
          <p:cNvSpPr txBox="1"/>
          <p:nvPr/>
        </p:nvSpPr>
        <p:spPr>
          <a:xfrm>
            <a:off x="9067856" y="2668108"/>
            <a:ext cx="2975177" cy="7466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indent="-406400">
              <a:lnSpc>
                <a:spcPct val="115000"/>
              </a:lnSpc>
              <a:buClr>
                <a:schemeClr val="lt1"/>
              </a:buClr>
              <a:buSzPts val="2800"/>
              <a:buFont typeface="Space Mono"/>
              <a:buChar char="●"/>
              <a:defRPr sz="2800">
                <a:solidFill>
                  <a:schemeClr val="lt1"/>
                </a:solidFill>
                <a:latin typeface="Space Mono"/>
                <a:ea typeface="Space Mono"/>
                <a:cs typeface="Space Mono"/>
                <a:sym typeface="Space Mono"/>
              </a:defRPr>
            </a:lvl1pPr>
            <a:lvl2pPr marL="914400" indent="-381000">
              <a:lnSpc>
                <a:spcPct val="115000"/>
              </a:lnSpc>
              <a:buClr>
                <a:schemeClr val="lt1"/>
              </a:buClr>
              <a:buSzPts val="2400"/>
              <a:buFont typeface="Space Mono"/>
              <a:buChar char="○"/>
              <a:defRPr sz="2400">
                <a:solidFill>
                  <a:schemeClr val="lt1"/>
                </a:solidFill>
                <a:latin typeface="Space Mono"/>
                <a:ea typeface="Space Mono"/>
                <a:cs typeface="Space Mono"/>
                <a:sym typeface="Space Mono"/>
              </a:defRPr>
            </a:lvl2pPr>
            <a:lvl3pPr marL="1371600" indent="-368300">
              <a:lnSpc>
                <a:spcPct val="115000"/>
              </a:lnSpc>
              <a:buClr>
                <a:schemeClr val="lt1"/>
              </a:buClr>
              <a:buSzPts val="2200"/>
              <a:buFont typeface="Space Mono"/>
              <a:buChar char="■"/>
              <a:defRPr sz="2200">
                <a:solidFill>
                  <a:schemeClr val="lt1"/>
                </a:solidFill>
                <a:latin typeface="Space Mono"/>
                <a:ea typeface="Space Mono"/>
                <a:cs typeface="Space Mono"/>
                <a:sym typeface="Space Mono"/>
              </a:defRPr>
            </a:lvl3pPr>
            <a:lvl4pPr marL="1828800" indent="-355600">
              <a:lnSpc>
                <a:spcPct val="115000"/>
              </a:lnSpc>
              <a:buClr>
                <a:schemeClr val="lt1"/>
              </a:buClr>
              <a:buSzPts val="2000"/>
              <a:buFont typeface="Space Mono"/>
              <a:buChar char="●"/>
              <a:defRPr sz="2000">
                <a:solidFill>
                  <a:schemeClr val="lt1"/>
                </a:solidFill>
                <a:latin typeface="Space Mono"/>
                <a:ea typeface="Space Mono"/>
                <a:cs typeface="Space Mono"/>
                <a:sym typeface="Space Mono"/>
              </a:defRPr>
            </a:lvl4pPr>
            <a:lvl5pPr marL="2286000" indent="-355600">
              <a:lnSpc>
                <a:spcPct val="115000"/>
              </a:lnSpc>
              <a:buClr>
                <a:schemeClr val="lt1"/>
              </a:buClr>
              <a:buSzPts val="2000"/>
              <a:buFont typeface="Space Mono"/>
              <a:buChar char="○"/>
              <a:defRPr sz="2000">
                <a:solidFill>
                  <a:schemeClr val="lt1"/>
                </a:solidFill>
                <a:latin typeface="Space Mono"/>
                <a:ea typeface="Space Mono"/>
                <a:cs typeface="Space Mono"/>
                <a:sym typeface="Space Mono"/>
              </a:defRPr>
            </a:lvl5pPr>
            <a:lvl6pPr marL="2743200" indent="-355600">
              <a:lnSpc>
                <a:spcPct val="115000"/>
              </a:lnSpc>
              <a:buClr>
                <a:schemeClr val="lt1"/>
              </a:buClr>
              <a:buSzPts val="2000"/>
              <a:buFont typeface="Space Mono"/>
              <a:buChar char="■"/>
              <a:defRPr sz="2000">
                <a:solidFill>
                  <a:schemeClr val="lt1"/>
                </a:solidFill>
                <a:latin typeface="Space Mono"/>
                <a:ea typeface="Space Mono"/>
                <a:cs typeface="Space Mono"/>
                <a:sym typeface="Space Mono"/>
              </a:defRPr>
            </a:lvl6pPr>
            <a:lvl7pPr marL="3200400" indent="-355600">
              <a:lnSpc>
                <a:spcPct val="115000"/>
              </a:lnSpc>
              <a:buClr>
                <a:schemeClr val="lt1"/>
              </a:buClr>
              <a:buSzPts val="2000"/>
              <a:buFont typeface="Space Mono"/>
              <a:buChar char="●"/>
              <a:defRPr sz="2000">
                <a:solidFill>
                  <a:schemeClr val="lt1"/>
                </a:solidFill>
                <a:latin typeface="Space Mono"/>
                <a:ea typeface="Space Mono"/>
                <a:cs typeface="Space Mono"/>
                <a:sym typeface="Space Mono"/>
              </a:defRPr>
            </a:lvl7pPr>
            <a:lvl8pPr marL="3657600" indent="-355600">
              <a:lnSpc>
                <a:spcPct val="115000"/>
              </a:lnSpc>
              <a:buClr>
                <a:schemeClr val="lt1"/>
              </a:buClr>
              <a:buSzPts val="2000"/>
              <a:buFont typeface="Space Mono"/>
              <a:buChar char="○"/>
              <a:defRPr sz="2000">
                <a:solidFill>
                  <a:schemeClr val="lt1"/>
                </a:solidFill>
                <a:latin typeface="Space Mono"/>
                <a:ea typeface="Space Mono"/>
                <a:cs typeface="Space Mono"/>
                <a:sym typeface="Space Mono"/>
              </a:defRPr>
            </a:lvl8pPr>
            <a:lvl9pPr marL="4114800" indent="-355600">
              <a:lnSpc>
                <a:spcPct val="115000"/>
              </a:lnSpc>
              <a:buClr>
                <a:schemeClr val="lt1"/>
              </a:buClr>
              <a:buSzPts val="2000"/>
              <a:buFont typeface="Space Mono"/>
              <a:buChar char="■"/>
              <a:defRPr sz="2000">
                <a:solidFill>
                  <a:schemeClr val="lt1"/>
                </a:solidFill>
                <a:latin typeface="Space Mono"/>
                <a:ea typeface="Space Mono"/>
                <a:cs typeface="Space Mono"/>
                <a:sym typeface="Space Mono"/>
              </a:defRPr>
            </a:lvl9pPr>
          </a:lstStyle>
          <a:p>
            <a:pPr marL="67732" indent="0" algn="ctr">
              <a:buNone/>
            </a:pPr>
            <a:r>
              <a:rPr lang="en-US" sz="2133" dirty="0">
                <a:solidFill>
                  <a:schemeClr val="tx1"/>
                </a:solidFill>
              </a:rPr>
              <a:t>Control plane emulation</a:t>
            </a:r>
          </a:p>
        </p:txBody>
      </p:sp>
      <p:sp>
        <p:nvSpPr>
          <p:cNvPr id="159" name="TextBox 158">
            <a:extLst>
              <a:ext uri="{FF2B5EF4-FFF2-40B4-BE49-F238E27FC236}">
                <a16:creationId xmlns:a16="http://schemas.microsoft.com/office/drawing/2014/main" id="{D0EF9CA5-D5E1-FA38-DBC5-EF030C178E48}"/>
              </a:ext>
            </a:extLst>
          </p:cNvPr>
          <p:cNvSpPr txBox="1"/>
          <p:nvPr/>
        </p:nvSpPr>
        <p:spPr>
          <a:xfrm>
            <a:off x="8769461" y="3648553"/>
            <a:ext cx="3273572" cy="9956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indent="-406400">
              <a:lnSpc>
                <a:spcPct val="115000"/>
              </a:lnSpc>
              <a:buClr>
                <a:schemeClr val="lt1"/>
              </a:buClr>
              <a:buSzPts val="2800"/>
              <a:buFont typeface="Space Mono"/>
              <a:buChar char="●"/>
              <a:defRPr sz="2800">
                <a:solidFill>
                  <a:schemeClr val="lt1"/>
                </a:solidFill>
                <a:latin typeface="Space Mono"/>
                <a:ea typeface="Space Mono"/>
                <a:cs typeface="Space Mono"/>
                <a:sym typeface="Space Mono"/>
              </a:defRPr>
            </a:lvl1pPr>
            <a:lvl2pPr marL="914400" indent="-381000">
              <a:lnSpc>
                <a:spcPct val="115000"/>
              </a:lnSpc>
              <a:buClr>
                <a:schemeClr val="lt1"/>
              </a:buClr>
              <a:buSzPts val="2400"/>
              <a:buFont typeface="Space Mono"/>
              <a:buChar char="○"/>
              <a:defRPr sz="2400">
                <a:solidFill>
                  <a:schemeClr val="lt1"/>
                </a:solidFill>
                <a:latin typeface="Space Mono"/>
                <a:ea typeface="Space Mono"/>
                <a:cs typeface="Space Mono"/>
                <a:sym typeface="Space Mono"/>
              </a:defRPr>
            </a:lvl2pPr>
            <a:lvl3pPr marL="1371600" indent="-368300">
              <a:lnSpc>
                <a:spcPct val="115000"/>
              </a:lnSpc>
              <a:buClr>
                <a:schemeClr val="lt1"/>
              </a:buClr>
              <a:buSzPts val="2200"/>
              <a:buFont typeface="Space Mono"/>
              <a:buChar char="■"/>
              <a:defRPr sz="2200">
                <a:solidFill>
                  <a:schemeClr val="lt1"/>
                </a:solidFill>
                <a:latin typeface="Space Mono"/>
                <a:ea typeface="Space Mono"/>
                <a:cs typeface="Space Mono"/>
                <a:sym typeface="Space Mono"/>
              </a:defRPr>
            </a:lvl3pPr>
            <a:lvl4pPr marL="1828800" indent="-355600">
              <a:lnSpc>
                <a:spcPct val="115000"/>
              </a:lnSpc>
              <a:buClr>
                <a:schemeClr val="lt1"/>
              </a:buClr>
              <a:buSzPts val="2000"/>
              <a:buFont typeface="Space Mono"/>
              <a:buChar char="●"/>
              <a:defRPr sz="2000">
                <a:solidFill>
                  <a:schemeClr val="lt1"/>
                </a:solidFill>
                <a:latin typeface="Space Mono"/>
                <a:ea typeface="Space Mono"/>
                <a:cs typeface="Space Mono"/>
                <a:sym typeface="Space Mono"/>
              </a:defRPr>
            </a:lvl4pPr>
            <a:lvl5pPr marL="2286000" indent="-355600">
              <a:lnSpc>
                <a:spcPct val="115000"/>
              </a:lnSpc>
              <a:buClr>
                <a:schemeClr val="lt1"/>
              </a:buClr>
              <a:buSzPts val="2000"/>
              <a:buFont typeface="Space Mono"/>
              <a:buChar char="○"/>
              <a:defRPr sz="2000">
                <a:solidFill>
                  <a:schemeClr val="lt1"/>
                </a:solidFill>
                <a:latin typeface="Space Mono"/>
                <a:ea typeface="Space Mono"/>
                <a:cs typeface="Space Mono"/>
                <a:sym typeface="Space Mono"/>
              </a:defRPr>
            </a:lvl5pPr>
            <a:lvl6pPr marL="2743200" indent="-355600">
              <a:lnSpc>
                <a:spcPct val="115000"/>
              </a:lnSpc>
              <a:buClr>
                <a:schemeClr val="lt1"/>
              </a:buClr>
              <a:buSzPts val="2000"/>
              <a:buFont typeface="Space Mono"/>
              <a:buChar char="■"/>
              <a:defRPr sz="2000">
                <a:solidFill>
                  <a:schemeClr val="lt1"/>
                </a:solidFill>
                <a:latin typeface="Space Mono"/>
                <a:ea typeface="Space Mono"/>
                <a:cs typeface="Space Mono"/>
                <a:sym typeface="Space Mono"/>
              </a:defRPr>
            </a:lvl6pPr>
            <a:lvl7pPr marL="3200400" indent="-355600">
              <a:lnSpc>
                <a:spcPct val="115000"/>
              </a:lnSpc>
              <a:buClr>
                <a:schemeClr val="lt1"/>
              </a:buClr>
              <a:buSzPts val="2000"/>
              <a:buFont typeface="Space Mono"/>
              <a:buChar char="●"/>
              <a:defRPr sz="2000">
                <a:solidFill>
                  <a:schemeClr val="lt1"/>
                </a:solidFill>
                <a:latin typeface="Space Mono"/>
                <a:ea typeface="Space Mono"/>
                <a:cs typeface="Space Mono"/>
                <a:sym typeface="Space Mono"/>
              </a:defRPr>
            </a:lvl7pPr>
            <a:lvl8pPr marL="3657600" indent="-355600">
              <a:lnSpc>
                <a:spcPct val="115000"/>
              </a:lnSpc>
              <a:buClr>
                <a:schemeClr val="lt1"/>
              </a:buClr>
              <a:buSzPts val="2000"/>
              <a:buFont typeface="Space Mono"/>
              <a:buChar char="○"/>
              <a:defRPr sz="2000">
                <a:solidFill>
                  <a:schemeClr val="lt1"/>
                </a:solidFill>
                <a:latin typeface="Space Mono"/>
                <a:ea typeface="Space Mono"/>
                <a:cs typeface="Space Mono"/>
                <a:sym typeface="Space Mono"/>
              </a:defRPr>
            </a:lvl8pPr>
            <a:lvl9pPr marL="4114800" indent="-355600">
              <a:lnSpc>
                <a:spcPct val="115000"/>
              </a:lnSpc>
              <a:buClr>
                <a:schemeClr val="lt1"/>
              </a:buClr>
              <a:buSzPts val="2000"/>
              <a:buFont typeface="Space Mono"/>
              <a:buChar char="■"/>
              <a:defRPr sz="2000">
                <a:solidFill>
                  <a:schemeClr val="lt1"/>
                </a:solidFill>
                <a:latin typeface="Space Mono"/>
                <a:ea typeface="Space Mono"/>
                <a:cs typeface="Space Mono"/>
                <a:sym typeface="Space Mono"/>
              </a:defRPr>
            </a:lvl9pPr>
          </a:lstStyle>
          <a:p>
            <a:pPr marL="67732" indent="0" algn="ctr">
              <a:buNone/>
            </a:pPr>
            <a:r>
              <a:rPr lang="en-US" sz="2133" dirty="0">
                <a:solidFill>
                  <a:schemeClr val="tx1"/>
                </a:solidFill>
              </a:rPr>
              <a:t>Test at scale</a:t>
            </a:r>
          </a:p>
          <a:p>
            <a:pPr marL="67732" indent="0" algn="ctr">
              <a:buNone/>
            </a:pPr>
            <a:r>
              <a:rPr lang="en-US" sz="2133" dirty="0">
                <a:solidFill>
                  <a:schemeClr val="tx1"/>
                </a:solidFill>
              </a:rPr>
              <a:t>Routing/Bridging/CPS</a:t>
            </a:r>
          </a:p>
        </p:txBody>
      </p:sp>
      <p:graphicFrame>
        <p:nvGraphicFramePr>
          <p:cNvPr id="160" name="Diagram 159">
            <a:extLst>
              <a:ext uri="{FF2B5EF4-FFF2-40B4-BE49-F238E27FC236}">
                <a16:creationId xmlns:a16="http://schemas.microsoft.com/office/drawing/2014/main" id="{8070A30D-C386-5F78-0CBA-9F35D764C52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26301092"/>
              </p:ext>
            </p:extLst>
          </p:nvPr>
        </p:nvGraphicFramePr>
        <p:xfrm>
          <a:off x="2034029" y="6139890"/>
          <a:ext cx="8128000" cy="52094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26" dur="3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7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28" dur="3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9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30" dur="30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1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32" dur="3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3" presetID="26" presetClass="emph" presetSubtype="0" repeatCount="indefinite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4" dur="2000" tmFilter="0, 0; .2, .5; .8, .5; 1, 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5" dur="1000" autoRev="1" fill="hold"/>
                                        <p:tgtEl>
                                          <p:spTgt spid="8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36" presetID="26" presetClass="emph" presetSubtype="0" repeatCount="indefinite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7" dur="2000" tmFilter="0, 0; .2, .5; .8, .5; 1, 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8" dur="1000" autoRev="1" fill="hold"/>
                                        <p:tgtEl>
                                          <p:spTgt spid="8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39" presetID="26" presetClass="emph" presetSubtype="0" repeatCount="indefinite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0" dur="2000" tmFilter="0, 0; .2, .5; .8, .5; 1, 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1" dur="1000" autoRev="1" fill="hold"/>
                                        <p:tgtEl>
                                          <p:spTgt spid="7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42" presetID="26" presetClass="emph" presetSubtype="0" repeatCount="indefinite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3" dur="2000" tmFilter="0, 0; .2, .5; .8, .5; 1, 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4" dur="1000" autoRev="1" fill="hold"/>
                                        <p:tgtEl>
                                          <p:spTgt spid="7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8" grpId="0" animBg="1"/>
      <p:bldP spid="78" grpId="1" animBg="1"/>
      <p:bldP spid="79" grpId="0" animBg="1"/>
      <p:bldP spid="79" grpId="1" animBg="1"/>
      <p:bldP spid="80" grpId="0" animBg="1"/>
      <p:bldP spid="80" grpId="1" animBg="1"/>
      <p:bldP spid="81" grpId="0" animBg="1"/>
      <p:bldP spid="81" grpId="1" animBg="1"/>
      <p:bldP spid="156" grpId="0"/>
      <p:bldP spid="157" grpId="0"/>
      <p:bldP spid="158" grpId="0"/>
      <p:bldP spid="159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9D55C3B2-DB0C-B2A5-F94F-529F28AE49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100" y="548640"/>
            <a:ext cx="10515600" cy="369332"/>
          </a:xfrm>
        </p:spPr>
        <p:txBody>
          <a:bodyPr/>
          <a:lstStyle/>
          <a:p>
            <a:r>
              <a:rPr lang="en-US" dirty="0"/>
              <a:t>Some popular network test tools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CB55253D-37F0-C207-5F6D-81ACC6FDB97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341119" y="1987667"/>
            <a:ext cx="365760" cy="36576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grpSp>
        <p:nvGrpSpPr>
          <p:cNvPr id="32" name="Group 31">
            <a:extLst>
              <a:ext uri="{FF2B5EF4-FFF2-40B4-BE49-F238E27FC236}">
                <a16:creationId xmlns:a16="http://schemas.microsoft.com/office/drawing/2014/main" id="{B2CEF919-6AED-A568-281D-756D2A8FCFCD}"/>
              </a:ext>
            </a:extLst>
          </p:cNvPr>
          <p:cNvGrpSpPr/>
          <p:nvPr/>
        </p:nvGrpSpPr>
        <p:grpSpPr>
          <a:xfrm>
            <a:off x="1524000" y="1441743"/>
            <a:ext cx="9144000" cy="571500"/>
            <a:chOff x="1511300" y="2857500"/>
            <a:chExt cx="9144000" cy="571500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9762DD51-8911-C873-1B42-AB6C8514E378}"/>
                </a:ext>
              </a:extLst>
            </p:cNvPr>
            <p:cNvCxnSpPr>
              <a:cxnSpLocks/>
            </p:cNvCxnSpPr>
            <p:nvPr/>
          </p:nvCxnSpPr>
          <p:spPr>
            <a:xfrm>
              <a:off x="1511300" y="2870200"/>
              <a:ext cx="9144000" cy="0"/>
            </a:xfrm>
            <a:prstGeom prst="line">
              <a:avLst/>
            </a:prstGeom>
            <a:ln w="1905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Arrow Connector 18">
              <a:extLst>
                <a:ext uri="{FF2B5EF4-FFF2-40B4-BE49-F238E27FC236}">
                  <a16:creationId xmlns:a16="http://schemas.microsoft.com/office/drawing/2014/main" id="{A9982A28-50EE-0754-702E-FB3828791415}"/>
                </a:ext>
              </a:extLst>
            </p:cNvPr>
            <p:cNvCxnSpPr/>
            <p:nvPr/>
          </p:nvCxnSpPr>
          <p:spPr>
            <a:xfrm>
              <a:off x="1511300" y="2857500"/>
              <a:ext cx="0" cy="533400"/>
            </a:xfrm>
            <a:prstGeom prst="straightConnector1">
              <a:avLst/>
            </a:prstGeom>
            <a:ln w="19050">
              <a:solidFill>
                <a:schemeClr val="tx1">
                  <a:lumMod val="75000"/>
                  <a:lumOff val="2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Arrow Connector 19">
              <a:extLst>
                <a:ext uri="{FF2B5EF4-FFF2-40B4-BE49-F238E27FC236}">
                  <a16:creationId xmlns:a16="http://schemas.microsoft.com/office/drawing/2014/main" id="{A018DD8F-16B5-9730-117E-4DD4D5286412}"/>
                </a:ext>
              </a:extLst>
            </p:cNvPr>
            <p:cNvCxnSpPr/>
            <p:nvPr/>
          </p:nvCxnSpPr>
          <p:spPr>
            <a:xfrm>
              <a:off x="4406900" y="2857500"/>
              <a:ext cx="0" cy="533400"/>
            </a:xfrm>
            <a:prstGeom prst="straightConnector1">
              <a:avLst/>
            </a:prstGeom>
            <a:ln w="19050">
              <a:solidFill>
                <a:schemeClr val="tx1">
                  <a:lumMod val="75000"/>
                  <a:lumOff val="2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Arrow Connector 20">
              <a:extLst>
                <a:ext uri="{FF2B5EF4-FFF2-40B4-BE49-F238E27FC236}">
                  <a16:creationId xmlns:a16="http://schemas.microsoft.com/office/drawing/2014/main" id="{A4BED52F-75A9-B378-3818-232F8AB259CE}"/>
                </a:ext>
              </a:extLst>
            </p:cNvPr>
            <p:cNvCxnSpPr/>
            <p:nvPr/>
          </p:nvCxnSpPr>
          <p:spPr>
            <a:xfrm>
              <a:off x="7670800" y="2895600"/>
              <a:ext cx="0" cy="533400"/>
            </a:xfrm>
            <a:prstGeom prst="straightConnector1">
              <a:avLst/>
            </a:prstGeom>
            <a:ln w="19050">
              <a:solidFill>
                <a:schemeClr val="tx1">
                  <a:lumMod val="75000"/>
                  <a:lumOff val="2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Arrow Connector 21">
              <a:extLst>
                <a:ext uri="{FF2B5EF4-FFF2-40B4-BE49-F238E27FC236}">
                  <a16:creationId xmlns:a16="http://schemas.microsoft.com/office/drawing/2014/main" id="{931BD05E-43B1-C6DC-5CE0-34620BC096BF}"/>
                </a:ext>
              </a:extLst>
            </p:cNvPr>
            <p:cNvCxnSpPr/>
            <p:nvPr/>
          </p:nvCxnSpPr>
          <p:spPr>
            <a:xfrm>
              <a:off x="10655300" y="2870200"/>
              <a:ext cx="0" cy="533400"/>
            </a:xfrm>
            <a:prstGeom prst="straightConnector1">
              <a:avLst/>
            </a:prstGeom>
            <a:ln w="19050">
              <a:solidFill>
                <a:schemeClr val="tx1">
                  <a:lumMod val="75000"/>
                  <a:lumOff val="2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TextBox 22">
            <a:extLst>
              <a:ext uri="{FF2B5EF4-FFF2-40B4-BE49-F238E27FC236}">
                <a16:creationId xmlns:a16="http://schemas.microsoft.com/office/drawing/2014/main" id="{277AE4E0-24E3-A515-D421-BCFFD137E474}"/>
              </a:ext>
            </a:extLst>
          </p:cNvPr>
          <p:cNvSpPr txBox="1"/>
          <p:nvPr/>
        </p:nvSpPr>
        <p:spPr>
          <a:xfrm>
            <a:off x="863600" y="2521068"/>
            <a:ext cx="1320800" cy="5588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xNetwork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7ACEA64-668E-D759-EA03-CE4B29C0CEF0}"/>
              </a:ext>
            </a:extLst>
          </p:cNvPr>
          <p:cNvSpPr txBox="1"/>
          <p:nvPr/>
        </p:nvSpPr>
        <p:spPr>
          <a:xfrm>
            <a:off x="3762375" y="2521068"/>
            <a:ext cx="1320800" cy="5588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OTG/KENG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B795D7F-FE4F-8B0F-5C62-CF56FE91158C}"/>
              </a:ext>
            </a:extLst>
          </p:cNvPr>
          <p:cNvSpPr txBox="1"/>
          <p:nvPr/>
        </p:nvSpPr>
        <p:spPr>
          <a:xfrm>
            <a:off x="7023100" y="2521068"/>
            <a:ext cx="1320800" cy="5588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b="1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CyPerf</a:t>
            </a:r>
            <a:endParaRPr lang="en-US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BB55433-BB77-1CDD-A062-D2EB91542532}"/>
              </a:ext>
            </a:extLst>
          </p:cNvPr>
          <p:cNvSpPr txBox="1"/>
          <p:nvPr/>
        </p:nvSpPr>
        <p:spPr>
          <a:xfrm>
            <a:off x="9758044" y="2521068"/>
            <a:ext cx="1819911" cy="5588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KAI DC builder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D112B59-AD7C-F1BF-A222-E202B6E931C1}"/>
              </a:ext>
            </a:extLst>
          </p:cNvPr>
          <p:cNvSpPr txBox="1"/>
          <p:nvPr/>
        </p:nvSpPr>
        <p:spPr>
          <a:xfrm>
            <a:off x="247650" y="2914774"/>
            <a:ext cx="2552700" cy="96162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Flagship L23 protocol emulation and traffic generator tool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255A138-376C-6FB4-3889-A0BA29970536}"/>
              </a:ext>
            </a:extLst>
          </p:cNvPr>
          <p:cNvSpPr txBox="1"/>
          <p:nvPr/>
        </p:nvSpPr>
        <p:spPr>
          <a:xfrm>
            <a:off x="3143250" y="2914774"/>
            <a:ext cx="2552700" cy="96162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An API based approach to standardize traffic generators 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B187E3D9-E959-B0BE-7650-C69C74783631}"/>
              </a:ext>
            </a:extLst>
          </p:cNvPr>
          <p:cNvSpPr txBox="1"/>
          <p:nvPr/>
        </p:nvSpPr>
        <p:spPr>
          <a:xfrm>
            <a:off x="6407150" y="2914774"/>
            <a:ext cx="2552700" cy="96162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Application and security traffic profiles 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1FB13C5E-9350-B219-DA9F-BF0BA6A2855B}"/>
              </a:ext>
            </a:extLst>
          </p:cNvPr>
          <p:cNvSpPr txBox="1"/>
          <p:nvPr/>
        </p:nvSpPr>
        <p:spPr>
          <a:xfrm>
            <a:off x="9391650" y="2914774"/>
            <a:ext cx="2552700" cy="96162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Keysight AI datacenter builder </a:t>
            </a:r>
          </a:p>
        </p:txBody>
      </p:sp>
      <p:graphicFrame>
        <p:nvGraphicFramePr>
          <p:cNvPr id="31" name="Diagram 30">
            <a:extLst>
              <a:ext uri="{FF2B5EF4-FFF2-40B4-BE49-F238E27FC236}">
                <a16:creationId xmlns:a16="http://schemas.microsoft.com/office/drawing/2014/main" id="{0124511C-CC5A-53A3-456A-258AC4F3963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42872892"/>
              </p:ext>
            </p:extLst>
          </p:nvPr>
        </p:nvGraphicFramePr>
        <p:xfrm>
          <a:off x="863601" y="5860628"/>
          <a:ext cx="10627360" cy="4487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33" name="Graphic 32">
            <a:extLst>
              <a:ext uri="{FF2B5EF4-FFF2-40B4-BE49-F238E27FC236}">
                <a16:creationId xmlns:a16="http://schemas.microsoft.com/office/drawing/2014/main" id="{AF3D7E24-0780-DE19-497A-1E06D765B3C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236721" y="2013243"/>
            <a:ext cx="365760" cy="36576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34" name="Graphic 33">
            <a:extLst>
              <a:ext uri="{FF2B5EF4-FFF2-40B4-BE49-F238E27FC236}">
                <a16:creationId xmlns:a16="http://schemas.microsoft.com/office/drawing/2014/main" id="{401DC5AA-9CB9-CF7F-AFE5-DDF9DAE0F6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500620" y="1987667"/>
            <a:ext cx="365760" cy="36576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35" name="Graphic 34">
            <a:extLst>
              <a:ext uri="{FF2B5EF4-FFF2-40B4-BE49-F238E27FC236}">
                <a16:creationId xmlns:a16="http://schemas.microsoft.com/office/drawing/2014/main" id="{E3BBCE91-7ACE-48EB-A441-56FDFAD6A1C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07981" y="2013243"/>
            <a:ext cx="365760" cy="36576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2054" name="Picture 6" descr="Vm Icon #398899 - Free Icons Library">
            <a:extLst>
              <a:ext uri="{FF2B5EF4-FFF2-40B4-BE49-F238E27FC236}">
                <a16:creationId xmlns:a16="http://schemas.microsoft.com/office/drawing/2014/main" id="{950D075D-F310-AC1A-CBAB-C0CE8D5140F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60588" y="4828145"/>
            <a:ext cx="741095" cy="741095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2" name="Picture 14" descr="How to Build Docker Containers with Python and Boto3 | by Dibaal Akari |  Medium">
            <a:extLst>
              <a:ext uri="{FF2B5EF4-FFF2-40B4-BE49-F238E27FC236}">
                <a16:creationId xmlns:a16="http://schemas.microsoft.com/office/drawing/2014/main" id="{B31A76D2-77C8-0093-FFB2-931202121C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18309" y="4866886"/>
            <a:ext cx="935231" cy="670690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6" descr="A picture containing text&#10;&#10;Description automatically generated">
            <a:extLst>
              <a:ext uri="{FF2B5EF4-FFF2-40B4-BE49-F238E27FC236}">
                <a16:creationId xmlns:a16="http://schemas.microsoft.com/office/drawing/2014/main" id="{0386238F-5BB7-F4CA-8056-CB845FC2DA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96507" y="4934451"/>
            <a:ext cx="1985387" cy="599719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58032E56-1EE6-7F1D-946E-1C4C60A28BB7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210107" y="4823657"/>
            <a:ext cx="1762124" cy="798598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42" name="Graphic 41" descr="Cloud outline">
            <a:extLst>
              <a:ext uri="{FF2B5EF4-FFF2-40B4-BE49-F238E27FC236}">
                <a16:creationId xmlns:a16="http://schemas.microsoft.com/office/drawing/2014/main" id="{55C95D93-1F40-85DD-ADFF-FC8F6F33ADEA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8959850" y="4466468"/>
            <a:ext cx="1535683" cy="1535683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43" name="Right Arrow 42">
            <a:extLst>
              <a:ext uri="{FF2B5EF4-FFF2-40B4-BE49-F238E27FC236}">
                <a16:creationId xmlns:a16="http://schemas.microsoft.com/office/drawing/2014/main" id="{F211256C-4B8E-27EF-AE9B-0B482A913F07}"/>
              </a:ext>
            </a:extLst>
          </p:cNvPr>
          <p:cNvSpPr/>
          <p:nvPr/>
        </p:nvSpPr>
        <p:spPr>
          <a:xfrm rot="8675621">
            <a:off x="5106432" y="2195422"/>
            <a:ext cx="528034" cy="365760"/>
          </a:xfrm>
          <a:prstGeom prst="rightArrow">
            <a:avLst/>
          </a:prstGeom>
          <a:solidFill>
            <a:srgbClr val="FF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45" name="Right Arrow 44">
            <a:extLst>
              <a:ext uri="{FF2B5EF4-FFF2-40B4-BE49-F238E27FC236}">
                <a16:creationId xmlns:a16="http://schemas.microsoft.com/office/drawing/2014/main" id="{7BD9FCE9-25B1-1D22-6F85-AC888B2931EA}"/>
              </a:ext>
            </a:extLst>
          </p:cNvPr>
          <p:cNvSpPr/>
          <p:nvPr/>
        </p:nvSpPr>
        <p:spPr>
          <a:xfrm rot="8675621">
            <a:off x="8282612" y="2195422"/>
            <a:ext cx="528034" cy="365760"/>
          </a:xfrm>
          <a:prstGeom prst="rightArrow">
            <a:avLst/>
          </a:prstGeom>
          <a:solidFill>
            <a:srgbClr val="FF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27012890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8" dur="3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2" dur="3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6" dur="3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20" dur="3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1" grpId="0">
        <p:bldAsOne/>
      </p:bldGraphic>
      <p:bldP spid="43" grpId="0" animBg="1"/>
      <p:bldP spid="45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6CBDE2-D83E-E023-A220-FECE990FA7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0392" y="1086356"/>
            <a:ext cx="9553902" cy="615553"/>
          </a:xfrm>
        </p:spPr>
        <p:txBody>
          <a:bodyPr/>
          <a:lstStyle/>
          <a:p>
            <a:r>
              <a:rPr lang="en-US" dirty="0"/>
              <a:t>Open Traffic Generator</a:t>
            </a:r>
          </a:p>
        </p:txBody>
      </p:sp>
    </p:spTree>
    <p:extLst>
      <p:ext uri="{BB962C8B-B14F-4D97-AF65-F5344CB8AC3E}">
        <p14:creationId xmlns:p14="http://schemas.microsoft.com/office/powerpoint/2010/main" val="108488184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158648B-4928-1356-EE0D-862905C066B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D8C490E1-64F3-B83C-3B18-6D9ED3A74B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n Traffic Generator (OTG)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35D3920-F9FE-FABE-A08A-98305FAB75C1}"/>
              </a:ext>
            </a:extLst>
          </p:cNvPr>
          <p:cNvSpPr/>
          <p:nvPr/>
        </p:nvSpPr>
        <p:spPr>
          <a:xfrm>
            <a:off x="0" y="2137893"/>
            <a:ext cx="12192000" cy="2099256"/>
          </a:xfrm>
          <a:prstGeom prst="rect">
            <a:avLst/>
          </a:prstGeom>
          <a:solidFill>
            <a:srgbClr val="3EB54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50" name="Picture 2" descr="3d printing - Free computer icons">
            <a:extLst>
              <a:ext uri="{FF2B5EF4-FFF2-40B4-BE49-F238E27FC236}">
                <a16:creationId xmlns:a16="http://schemas.microsoft.com/office/drawing/2014/main" id="{C8F3EE9A-D3F4-95A4-DD73-7D798E039E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459" y="2487052"/>
            <a:ext cx="1371600" cy="137160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Balance, compare, eco equal, eco measure, ecology, weight icon - Download  on Iconfinder">
            <a:extLst>
              <a:ext uri="{FF2B5EF4-FFF2-40B4-BE49-F238E27FC236}">
                <a16:creationId xmlns:a16="http://schemas.microsoft.com/office/drawing/2014/main" id="{9A9D84D7-12DD-5EC2-AAF5-DECF91C76A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69329" y="2501721"/>
            <a:ext cx="1371600" cy="137160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 descr="OpenAPI&quot; Icon - Download for free – Iconduck">
            <a:extLst>
              <a:ext uri="{FF2B5EF4-FFF2-40B4-BE49-F238E27FC236}">
                <a16:creationId xmlns:a16="http://schemas.microsoft.com/office/drawing/2014/main" id="{FA909020-B82F-87CC-AB59-D3EEFE2867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0200" y="2501721"/>
            <a:ext cx="1371600" cy="137160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8" name="Picture 10" descr="Use case - Free user icons">
            <a:extLst>
              <a:ext uri="{FF2B5EF4-FFF2-40B4-BE49-F238E27FC236}">
                <a16:creationId xmlns:a16="http://schemas.microsoft.com/office/drawing/2014/main" id="{0E8A1850-44AB-85A2-F30E-1CF3FD1A98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1071" y="2501721"/>
            <a:ext cx="1371600" cy="137160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0" name="Picture 12">
            <a:extLst>
              <a:ext uri="{FF2B5EF4-FFF2-40B4-BE49-F238E27FC236}">
                <a16:creationId xmlns:a16="http://schemas.microsoft.com/office/drawing/2014/main" id="{7D582EBF-F90B-C483-5027-4CD399D719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91942" y="2501721"/>
            <a:ext cx="1371600" cy="137160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37C449CE-CB9C-2D3F-5668-0D4BA3F47030}"/>
              </a:ext>
            </a:extLst>
          </p:cNvPr>
          <p:cNvSpPr txBox="1"/>
          <p:nvPr/>
        </p:nvSpPr>
        <p:spPr>
          <a:xfrm>
            <a:off x="519177" y="4453805"/>
            <a:ext cx="189748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/>
              <a:t> Model-based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1ED8225-5222-ADA0-45C5-BF30992F1885}"/>
              </a:ext>
            </a:extLst>
          </p:cNvPr>
          <p:cNvSpPr txBox="1"/>
          <p:nvPr/>
        </p:nvSpPr>
        <p:spPr>
          <a:xfrm>
            <a:off x="2860047" y="4453805"/>
            <a:ext cx="189748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/>
              <a:t>Vendor Neutral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403DB14-3B90-A527-6711-41F77FAF268E}"/>
              </a:ext>
            </a:extLst>
          </p:cNvPr>
          <p:cNvSpPr txBox="1"/>
          <p:nvPr/>
        </p:nvSpPr>
        <p:spPr>
          <a:xfrm>
            <a:off x="5200917" y="4453805"/>
            <a:ext cx="189748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/>
              <a:t>Open-API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99D05A8-6F79-5F87-4C7A-B3E2135575CB}"/>
              </a:ext>
            </a:extLst>
          </p:cNvPr>
          <p:cNvSpPr txBox="1"/>
          <p:nvPr/>
        </p:nvSpPr>
        <p:spPr>
          <a:xfrm>
            <a:off x="7542727" y="4453805"/>
            <a:ext cx="189748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/>
              <a:t>Use-case drive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043C1BB-2C41-7CE4-0F20-93AD0ED3AD82}"/>
              </a:ext>
            </a:extLst>
          </p:cNvPr>
          <p:cNvSpPr txBox="1"/>
          <p:nvPr/>
        </p:nvSpPr>
        <p:spPr>
          <a:xfrm>
            <a:off x="9884537" y="4453805"/>
            <a:ext cx="189748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/>
              <a:t>Community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5106AF9-375E-62BD-AFDD-FFE533C95A94}"/>
              </a:ext>
            </a:extLst>
          </p:cNvPr>
          <p:cNvSpPr txBox="1"/>
          <p:nvPr/>
        </p:nvSpPr>
        <p:spPr>
          <a:xfrm>
            <a:off x="3043704" y="5505650"/>
            <a:ext cx="6470569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000" dirty="0"/>
              <a:t>Visit </a:t>
            </a:r>
            <a:r>
              <a:rPr lang="en-US" sz="2000" dirty="0">
                <a:hlinkClick r:id="rId7"/>
              </a:rPr>
              <a:t>https://ixia-c.dev/</a:t>
            </a:r>
            <a:r>
              <a:rPr lang="en-US" sz="2000" dirty="0"/>
              <a:t> and get involved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716799E-D7C3-F8B7-7951-82695D0385F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Keysight Elastic Network Generator</a:t>
            </a:r>
          </a:p>
        </p:txBody>
      </p:sp>
    </p:spTree>
    <p:extLst>
      <p:ext uri="{BB962C8B-B14F-4D97-AF65-F5344CB8AC3E}">
        <p14:creationId xmlns:p14="http://schemas.microsoft.com/office/powerpoint/2010/main" val="21761199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AGENDA" val="SectionNumber SlideNumber"/>
  <p:tag name="EE4P_STYLE_ID" val="39dcc26a-7131-49f4-a9eb-1c0521500c03"/>
</p:tagLst>
</file>

<file path=ppt/theme/theme1.xml><?xml version="1.0" encoding="utf-8"?>
<a:theme xmlns:a="http://schemas.openxmlformats.org/drawingml/2006/main" name="2022 Keysight Widescreen Template">
  <a:themeElements>
    <a:clrScheme name="Custom 1">
      <a:dk1>
        <a:srgbClr val="000000"/>
      </a:dk1>
      <a:lt1>
        <a:srgbClr val="FFFFFF"/>
      </a:lt1>
      <a:dk2>
        <a:srgbClr val="97999B"/>
      </a:dk2>
      <a:lt2>
        <a:srgbClr val="F2A900"/>
      </a:lt2>
      <a:accent1>
        <a:srgbClr val="E90029"/>
      </a:accent1>
      <a:accent2>
        <a:srgbClr val="FF6720"/>
      </a:accent2>
      <a:accent3>
        <a:srgbClr val="9B26B6"/>
      </a:accent3>
      <a:accent4>
        <a:srgbClr val="071D49"/>
      </a:accent4>
      <a:accent5>
        <a:srgbClr val="426DA9"/>
      </a:accent5>
      <a:accent6>
        <a:srgbClr val="63B1BC"/>
      </a:accent6>
      <a:hlink>
        <a:srgbClr val="E90029"/>
      </a:hlink>
      <a:folHlink>
        <a:srgbClr val="740014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>
            <a:lumMod val="75000"/>
            <a:lumOff val="25000"/>
          </a:schemeClr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>
              <a:lumMod val="75000"/>
              <a:lumOff val="2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dirty="0" err="1" smtClean="0">
            <a:solidFill>
              <a:schemeClr val="tx1">
                <a:lumMod val="85000"/>
                <a:lumOff val="15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4CFC29C6-EBC5-914B-A19E-81F5741442BC}" vid="{4F5DF7E0-5915-D243-8766-C0DAC9DFBFDB}"/>
    </a:ext>
  </a:extLst>
</a:theme>
</file>

<file path=ppt/theme/theme2.xml><?xml version="1.0" encoding="utf-8"?>
<a:theme xmlns:a="http://schemas.openxmlformats.org/drawingml/2006/main" name="Office Theme">
  <a:themeElements>
    <a:clrScheme name="2017 Keysight MACRO">
      <a:dk1>
        <a:sysClr val="windowText" lastClr="000000"/>
      </a:dk1>
      <a:lt1>
        <a:srgbClr val="FFFFFF"/>
      </a:lt1>
      <a:dk2>
        <a:srgbClr val="A4A1A9"/>
      </a:dk2>
      <a:lt2>
        <a:srgbClr val="FFA623"/>
      </a:lt2>
      <a:accent1>
        <a:srgbClr val="E90029"/>
      </a:accent1>
      <a:accent2>
        <a:srgbClr val="E76C27"/>
      </a:accent2>
      <a:accent3>
        <a:srgbClr val="8D3785"/>
      </a:accent3>
      <a:accent4>
        <a:srgbClr val="5B348A"/>
      </a:accent4>
      <a:accent5>
        <a:srgbClr val="225792"/>
      </a:accent5>
      <a:accent6>
        <a:srgbClr val="07858B"/>
      </a:accent6>
      <a:hlink>
        <a:srgbClr val="FFA623"/>
      </a:hlink>
      <a:folHlink>
        <a:srgbClr val="A4A1A9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>
            <a:lumMod val="75000"/>
            <a:lumOff val="25000"/>
          </a:schemeClr>
        </a:solidFill>
        <a:ln>
          <a:noFill/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>
              <a:lumMod val="75000"/>
              <a:lumOff val="2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2017 Keysight MACRO">
      <a:dk1>
        <a:sysClr val="windowText" lastClr="000000"/>
      </a:dk1>
      <a:lt1>
        <a:srgbClr val="FFFFFF"/>
      </a:lt1>
      <a:dk2>
        <a:srgbClr val="A4A1A9"/>
      </a:dk2>
      <a:lt2>
        <a:srgbClr val="FFA623"/>
      </a:lt2>
      <a:accent1>
        <a:srgbClr val="E90029"/>
      </a:accent1>
      <a:accent2>
        <a:srgbClr val="E76C27"/>
      </a:accent2>
      <a:accent3>
        <a:srgbClr val="8D3785"/>
      </a:accent3>
      <a:accent4>
        <a:srgbClr val="5B348A"/>
      </a:accent4>
      <a:accent5>
        <a:srgbClr val="225792"/>
      </a:accent5>
      <a:accent6>
        <a:srgbClr val="07858B"/>
      </a:accent6>
      <a:hlink>
        <a:srgbClr val="FFA623"/>
      </a:hlink>
      <a:folHlink>
        <a:srgbClr val="A4A1A9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>
            <a:lumMod val="75000"/>
            <a:lumOff val="25000"/>
          </a:schemeClr>
        </a:solidFill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5400">
          <a:solidFill>
            <a:schemeClr val="tx1">
              <a:lumMod val="75000"/>
              <a:lumOff val="2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8FC8C964DA4A44B875675721C03DE15" ma:contentTypeVersion="14" ma:contentTypeDescription="Create a new document." ma:contentTypeScope="" ma:versionID="908c2ad7632c6c9683288fb8467ad01c">
  <xsd:schema xmlns:xsd="http://www.w3.org/2001/XMLSchema" xmlns:xs="http://www.w3.org/2001/XMLSchema" xmlns:p="http://schemas.microsoft.com/office/2006/metadata/properties" xmlns:ns2="1cdca701-30d7-4866-81d5-946ca3e8a8ba" xmlns:ns3="ef54b1e8-924b-4b7b-ba01-63be7a72f5fa" targetNamespace="http://schemas.microsoft.com/office/2006/metadata/properties" ma:root="true" ma:fieldsID="a1caac555eeed106c9bffc9083aa5b2d" ns2:_="" ns3:_="">
    <xsd:import namespace="1cdca701-30d7-4866-81d5-946ca3e8a8ba"/>
    <xsd:import namespace="ef54b1e8-924b-4b7b-ba01-63be7a72f5f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cdca701-30d7-4866-81d5-946ca3e8a8b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71b4e610-9c4a-4944-b620-b446fb4a28f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f54b1e8-924b-4b7b-ba01-63be7a72f5fa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bb8b6fab-d5b1-4361-bba1-c671ca27df6f}" ma:internalName="TaxCatchAll" ma:showField="CatchAllData" ma:web="ef54b1e8-924b-4b7b-ba01-63be7a72f5f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ef54b1e8-924b-4b7b-ba01-63be7a72f5fa" xsi:nil="true"/>
    <lcf76f155ced4ddcb4097134ff3c332f xmlns="1cdca701-30d7-4866-81d5-946ca3e8a8ba">
      <Terms xmlns="http://schemas.microsoft.com/office/infopath/2007/PartnerControls"/>
    </lcf76f155ced4ddcb4097134ff3c332f>
    <SharedWithUsers xmlns="ef54b1e8-924b-4b7b-ba01-63be7a72f5fa">
      <UserInfo>
        <DisplayName>Yong Zhou</DisplayName>
        <AccountId>253</AccountId>
        <AccountType/>
      </UserInfo>
      <UserInfo>
        <DisplayName>Venkat Pullela</DisplayName>
        <AccountId>175</AccountId>
        <AccountType/>
      </UserInfo>
      <UserInfo>
        <DisplayName>Chris Sommers</DisplayName>
        <AccountId>158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CB061F45-A1EB-48FC-897A-C9E702BBFB7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cdca701-30d7-4866-81d5-946ca3e8a8ba"/>
    <ds:schemaRef ds:uri="ef54b1e8-924b-4b7b-ba01-63be7a72f5f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B24C61C5-4B44-40D0-B80A-53165299EBA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F557FDC-6B69-4AF4-9507-5607DAB1E8F5}">
  <ds:schemaRefs>
    <ds:schemaRef ds:uri="http://schemas.microsoft.com/office/infopath/2007/PartnerControls"/>
    <ds:schemaRef ds:uri="1cdca701-30d7-4866-81d5-946ca3e8a8ba"/>
    <ds:schemaRef ds:uri="http://schemas.microsoft.com/office/2006/metadata/properties"/>
    <ds:schemaRef ds:uri="http://purl.org/dc/terms/"/>
    <ds:schemaRef ds:uri="http://schemas.microsoft.com/office/2006/documentManagement/types"/>
    <ds:schemaRef ds:uri="http://purl.org/dc/dcmitype/"/>
    <ds:schemaRef ds:uri="http://purl.org/dc/elements/1.1/"/>
    <ds:schemaRef ds:uri="http://schemas.openxmlformats.org/package/2006/metadata/core-properties"/>
    <ds:schemaRef ds:uri="ef54b1e8-924b-4b7b-ba01-63be7a72f5fa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63545f27-3232-4d74-a44d-cdd457063402}" enabled="0" method="" siteId="{63545f27-3232-4d74-a44d-cdd457063402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2022 Keysight Widescreen Template</Template>
  <TotalTime>15718</TotalTime>
  <Words>1134</Words>
  <Application>Microsoft Macintosh PowerPoint</Application>
  <PresentationFormat>Widescreen</PresentationFormat>
  <Paragraphs>221</Paragraphs>
  <Slides>21</Slides>
  <Notes>8</Notes>
  <HiddenSlides>1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7" baseType="lpstr">
      <vt:lpstr>-apple-system</vt:lpstr>
      <vt:lpstr>Arial</vt:lpstr>
      <vt:lpstr>Arial Bold</vt:lpstr>
      <vt:lpstr>Arial Regular</vt:lpstr>
      <vt:lpstr>Calibri</vt:lpstr>
      <vt:lpstr>2022 Keysight Widescreen Template</vt:lpstr>
      <vt:lpstr>Open Tools for Automated and Scalable Network Testing</vt:lpstr>
      <vt:lpstr>A Brief History of Keysight</vt:lpstr>
      <vt:lpstr>PowerPoint Presentation</vt:lpstr>
      <vt:lpstr>Network Testing</vt:lpstr>
      <vt:lpstr>PowerPoint Presentation</vt:lpstr>
      <vt:lpstr>Traffic generator : What and Why</vt:lpstr>
      <vt:lpstr>Some popular network test tools</vt:lpstr>
      <vt:lpstr>Open Traffic Generator</vt:lpstr>
      <vt:lpstr>Open Traffic Generator (OTG)</vt:lpstr>
      <vt:lpstr>What – OTG Model</vt:lpstr>
      <vt:lpstr>What – OTG API</vt:lpstr>
      <vt:lpstr>Open Traffic Generator API</vt:lpstr>
      <vt:lpstr>OTG Components</vt:lpstr>
      <vt:lpstr>OTG Components continued</vt:lpstr>
      <vt:lpstr>Keysight Elastic Network Generator</vt:lpstr>
      <vt:lpstr>PowerPoint Presentation</vt:lpstr>
      <vt:lpstr>KENG/OTG learning path</vt:lpstr>
      <vt:lpstr>CyPerf</vt:lpstr>
      <vt:lpstr>The CyPerf Advantage</vt:lpstr>
      <vt:lpstr>Advantages of CyPerf’s Traffic  Emulation</vt:lpstr>
      <vt:lpstr>KENG adoption model: OpenConfig project ecosystem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etwork Security</dc:title>
  <dc:creator>Alex Bortok</dc:creator>
  <cp:lastModifiedBy>Manodipto Ghose</cp:lastModifiedBy>
  <cp:revision>3</cp:revision>
  <dcterms:created xsi:type="dcterms:W3CDTF">2022-07-12T23:27:54Z</dcterms:created>
  <dcterms:modified xsi:type="dcterms:W3CDTF">2025-11-13T01:06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8FC8C964DA4A44B875675721C03DE15</vt:lpwstr>
  </property>
  <property fmtid="{D5CDD505-2E9C-101B-9397-08002B2CF9AE}" pid="3" name="MediaServiceImageTags">
    <vt:lpwstr/>
  </property>
</Properties>
</file>